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4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5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6.xml" ContentType="application/vnd.openxmlformats-officedocument.theme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7.xml" ContentType="application/vnd.openxmlformats-officedocument.theme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8.xml" ContentType="application/vnd.openxmlformats-officedocument.theme+xml"/>
  <Override PartName="/ppt/tags/tag3.xml" ContentType="application/vnd.openxmlformats-officedocument.presentationml.tags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5" r:id="rId5"/>
    <p:sldMasterId id="2147483677" r:id="rId6"/>
    <p:sldMasterId id="2147483693" r:id="rId7"/>
    <p:sldMasterId id="2147483722" r:id="rId8"/>
    <p:sldMasterId id="2147483734" r:id="rId9"/>
    <p:sldMasterId id="2147483746" r:id="rId10"/>
    <p:sldMasterId id="2147483760" r:id="rId11"/>
    <p:sldMasterId id="2147483772" r:id="rId12"/>
  </p:sldMasterIdLst>
  <p:notesMasterIdLst>
    <p:notesMasterId r:id="rId37"/>
  </p:notesMasterIdLst>
  <p:sldIdLst>
    <p:sldId id="2147479727" r:id="rId13"/>
    <p:sldId id="2147480395" r:id="rId14"/>
    <p:sldId id="2147480396" r:id="rId15"/>
    <p:sldId id="2147480398" r:id="rId16"/>
    <p:sldId id="2147480401" r:id="rId17"/>
    <p:sldId id="2147480403" r:id="rId18"/>
    <p:sldId id="2147480417" r:id="rId19"/>
    <p:sldId id="2147480402" r:id="rId20"/>
    <p:sldId id="2147480404" r:id="rId21"/>
    <p:sldId id="2147480405" r:id="rId22"/>
    <p:sldId id="2147480419" r:id="rId23"/>
    <p:sldId id="2147480420" r:id="rId24"/>
    <p:sldId id="2147480421" r:id="rId25"/>
    <p:sldId id="2147480406" r:id="rId26"/>
    <p:sldId id="2147480407" r:id="rId27"/>
    <p:sldId id="2147480408" r:id="rId28"/>
    <p:sldId id="2147480418" r:id="rId29"/>
    <p:sldId id="2147480409" r:id="rId30"/>
    <p:sldId id="2147480410" r:id="rId31"/>
    <p:sldId id="2147480412" r:id="rId32"/>
    <p:sldId id="2147480416" r:id="rId33"/>
    <p:sldId id="2147480414" r:id="rId34"/>
    <p:sldId id="2147480413" r:id="rId35"/>
    <p:sldId id="2147480399" r:id="rId3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FA15C5F4-5AAF-4C88-A389-73DFA06E97B2}">
          <p14:sldIdLst>
            <p14:sldId id="2147479727"/>
            <p14:sldId id="2147480395"/>
            <p14:sldId id="2147480396"/>
            <p14:sldId id="2147480398"/>
            <p14:sldId id="2147480401"/>
            <p14:sldId id="2147480403"/>
            <p14:sldId id="2147480417"/>
            <p14:sldId id="2147480402"/>
            <p14:sldId id="2147480404"/>
            <p14:sldId id="2147480405"/>
            <p14:sldId id="2147480419"/>
            <p14:sldId id="2147480420"/>
            <p14:sldId id="2147480421"/>
            <p14:sldId id="2147480406"/>
            <p14:sldId id="2147480407"/>
            <p14:sldId id="2147480408"/>
            <p14:sldId id="2147480418"/>
            <p14:sldId id="2147480409"/>
            <p14:sldId id="2147480410"/>
            <p14:sldId id="2147480412"/>
            <p14:sldId id="2147480416"/>
            <p14:sldId id="2147480414"/>
            <p14:sldId id="2147480413"/>
            <p14:sldId id="2147480399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16C4725-434A-0CC6-93EB-FE23AEC46D6C}" name="Teeter, Halle" initials="TH" userId="S::226390@NTTDATA.COM::cb8e2ae9-2490-46d9-90b6-83eee49f8b8c" providerId="AD"/>
  <p188:author id="{FDD0BFC0-89B5-DEB4-1BDC-5EC3E81DC3EF}" name="Anisha Biggers" initials="AB" userId="Anisha Biggers" providerId="None"/>
  <p188:author id="{784B07E0-9DA8-B7C4-CE8A-6DEE0D3F495B}" name="Evans, Gracie" initials="EG" userId="S::229001@NTTDATA.COM::f1c72029-4a58-48ba-82b0-30916de5fc3d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eeter, Halle" initials="TH" lastIdx="1" clrIdx="0">
    <p:extLst>
      <p:ext uri="{19B8F6BF-5375-455C-9EA6-DF929625EA0E}">
        <p15:presenceInfo xmlns:p15="http://schemas.microsoft.com/office/powerpoint/2012/main" userId="S::226390@NTTDATA.COM::cb8e2ae9-2490-46d9-90b6-83eee49f8b8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DBE5C"/>
    <a:srgbClr val="0080B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70975" autoAdjust="0"/>
  </p:normalViewPr>
  <p:slideViewPr>
    <p:cSldViewPr snapToGrid="0">
      <p:cViewPr varScale="1">
        <p:scale>
          <a:sx n="117" d="100"/>
          <a:sy n="117" d="100"/>
        </p:scale>
        <p:origin x="1940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slide" Target="slides/slide14.xml"/><Relationship Id="rId39" Type="http://schemas.openxmlformats.org/officeDocument/2006/relationships/presProps" Target="presProps.xml"/><Relationship Id="rId21" Type="http://schemas.openxmlformats.org/officeDocument/2006/relationships/slide" Target="slides/slide9.xml"/><Relationship Id="rId34" Type="http://schemas.openxmlformats.org/officeDocument/2006/relationships/slide" Target="slides/slide22.xml"/><Relationship Id="rId42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slide" Target="slides/slide17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2.xml"/><Relationship Id="rId32" Type="http://schemas.openxmlformats.org/officeDocument/2006/relationships/slide" Target="slides/slide20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slide" Target="slides/slide24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7.xml"/><Relationship Id="rId31" Type="http://schemas.openxmlformats.org/officeDocument/2006/relationships/slide" Target="slides/slide19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slide" Target="slides/slide18.xml"/><Relationship Id="rId35" Type="http://schemas.openxmlformats.org/officeDocument/2006/relationships/slide" Target="slides/slide23.xml"/><Relationship Id="rId43" Type="http://schemas.microsoft.com/office/2018/10/relationships/authors" Target="author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slide" Target="slides/slide21.xml"/><Relationship Id="rId38" Type="http://schemas.openxmlformats.org/officeDocument/2006/relationships/commentAuthors" Target="comment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1B3322C-2912-4B41-8D3A-C6D40D715E31}" type="datetimeFigureOut">
              <a:rPr lang="en-US" smtClean="0"/>
              <a:t>7/26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B7A63C-D14F-4165-BCD5-D6FE85EAE8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99363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B7A63C-D14F-4165-BCD5-D6FE85EAE83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684943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None/>
            </a:pPr>
            <a:endParaRPr kumimoji="1" lang="en-US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AAED7-EB68-B44B-A29A-E9CFE7A1147D}" type="slidenum">
              <a:rPr kumimoji="0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游ゴシック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2742245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AAED7-EB68-B44B-A29A-E9CFE7A1147D}" type="slidenum">
              <a:rPr kumimoji="0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游ゴシック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07672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Font typeface="+mj-lt"/>
              <a:buAutoNum type="arabicPeriod"/>
            </a:pP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Select a song from The </a:t>
            </a:r>
            <a:r>
              <a:rPr lang="en-US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EasyRetro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Scrum Board: https://easyretro.io/publicboard/K4TJLfaixtZPhOqz3R0NH6xarN12/94132534-22e6-4fec-b883-5439a2bfd9e8 </a:t>
            </a:r>
          </a:p>
          <a:p>
            <a:pPr marL="228600" indent="-228600">
              <a:buFont typeface="+mj-lt"/>
              <a:buAutoNum type="arabicPeriod"/>
            </a:pP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Add your name to the Song Card by clicking on the three dots in the corner of the card and clicking ‘Edit’</a:t>
            </a:r>
          </a:p>
          <a:p>
            <a:pPr marL="228600" indent="-228600">
              <a:buFont typeface="+mj-lt"/>
              <a:buAutoNum type="arabicPeriod"/>
            </a:pP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Move your song card to in progress and start coding (Full Instructions in Appendix</a:t>
            </a:r>
          </a:p>
          <a:p>
            <a:pPr marL="685800" lvl="1" indent="-228600">
              <a:buFont typeface="+mj-lt"/>
              <a:buAutoNum type="arabicPeriod"/>
            </a:pP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Create the fork </a:t>
            </a:r>
          </a:p>
          <a:p>
            <a:pPr marL="685800" lvl="1" indent="-228600">
              <a:buFont typeface="+mj-lt"/>
              <a:buAutoNum type="arabicPeriod"/>
            </a:pP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Edit the file in browser </a:t>
            </a:r>
          </a:p>
          <a:p>
            <a:pPr marL="685800" lvl="1" indent="-228600">
              <a:buFont typeface="+mj-lt"/>
              <a:buAutoNum type="arabicPeriod"/>
            </a:pP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Propose Change</a:t>
            </a:r>
          </a:p>
          <a:p>
            <a:pPr marL="685800" lvl="1" indent="-228600">
              <a:buFont typeface="+mj-lt"/>
              <a:buAutoNum type="arabicPeriod"/>
            </a:pP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Create a Pull Request</a:t>
            </a:r>
          </a:p>
          <a:p>
            <a:pPr marL="228600" lvl="0" indent="-228600">
              <a:buFont typeface="+mj-lt"/>
              <a:buAutoNum type="arabicPeriod"/>
            </a:pP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Just Mitchell) Merge the PR</a:t>
            </a:r>
          </a:p>
          <a:p>
            <a:pPr marL="228600" lvl="0" indent="-228600">
              <a:buFont typeface="+mj-lt"/>
              <a:buAutoNum type="arabicPeriod"/>
            </a:pP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After all PRs are Merged, Deployment</a:t>
            </a:r>
          </a:p>
          <a:p>
            <a:pPr marL="685800" lvl="1" indent="-228600">
              <a:buFont typeface="+mj-lt"/>
              <a:buAutoNum type="arabicPeriod"/>
            </a:pP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Remote into PC</a:t>
            </a:r>
          </a:p>
          <a:p>
            <a:pPr marL="685800" lvl="1" indent="-228600">
              <a:buFont typeface="+mj-lt"/>
              <a:buAutoNum type="arabicPeriod"/>
            </a:pP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Authenticate to Spotify	</a:t>
            </a:r>
          </a:p>
          <a:p>
            <a:pPr marL="1143000" lvl="2" indent="-228600">
              <a:buFont typeface="+mj-lt"/>
              <a:buAutoNum type="arabicPeriod"/>
            </a:pP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docker run --rm -it -p 27228:27228 --env-file ./.env ghcr.io/</a:t>
            </a:r>
            <a:r>
              <a:rPr lang="en-US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conradludgate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/</a:t>
            </a:r>
            <a:r>
              <a:rPr lang="en-US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spotify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-auth-proxy</a:t>
            </a:r>
          </a:p>
          <a:p>
            <a:pPr marL="685800" lvl="1" indent="-228600">
              <a:buFont typeface="+mj-lt"/>
              <a:buAutoNum type="arabicPeriod"/>
            </a:pP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terraform </a:t>
            </a:r>
            <a:r>
              <a:rPr lang="en-US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init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pPr marL="685800" lvl="1" indent="-228600">
              <a:buFont typeface="+mj-lt"/>
              <a:buAutoNum type="arabicPeriod"/>
            </a:pP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terraform apply</a:t>
            </a:r>
          </a:p>
          <a:p>
            <a:pPr marL="1143000" lvl="2" indent="-228600">
              <a:buFont typeface="+mj-lt"/>
              <a:buAutoNum type="arabicPeriod"/>
            </a:pP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yes</a:t>
            </a:r>
          </a:p>
          <a:p>
            <a:pPr marL="228600" lvl="0" indent="-228600">
              <a:buFont typeface="+mj-lt"/>
              <a:buAutoNum type="arabicPeriod"/>
            </a:pP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Share Playlist</a:t>
            </a:r>
          </a:p>
          <a:p>
            <a:pPr marL="685800" lvl="1" indent="-228600">
              <a:buFont typeface="+mj-lt"/>
              <a:buAutoNum type="arabicPeriod"/>
            </a:pP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AAED7-EB68-B44B-A29A-E9CFE7A1147D}" type="slidenum">
              <a:rPr kumimoji="0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游ゴシック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928652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AAED7-EB68-B44B-A29A-E9CFE7A1147D}" type="slidenum">
              <a:rPr kumimoji="0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游ゴシック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960862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B7A63C-D14F-4165-BCD5-D6FE85EAE834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44559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B7A63C-D14F-4165-BCD5-D6FE85EAE834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085455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B7A63C-D14F-4165-BCD5-D6FE85EAE834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232936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rm – https://forms.office.com/r/wmmqzy196Q</a:t>
            </a:r>
          </a:p>
          <a:p>
            <a:r>
              <a:rPr lang="en-US" dirty="0"/>
              <a:t>Form Results - https://forms.office.com/Pages/DesignPageV2.aspx?origin=NeoPortalPage&amp;subpage=design&amp;id=b-DkZWPyH0y-y5DeuMLZ_4VqdpFK6xFEuA-eUuBAjn1UNEpZMFk3TVlGNzhIME5SQzlQWjBRNFVUVC4u&amp;analysis=true</a:t>
            </a:r>
          </a:p>
          <a:p>
            <a:r>
              <a:rPr lang="en-US" dirty="0" err="1"/>
              <a:t>EasyRetro</a:t>
            </a:r>
            <a:r>
              <a:rPr lang="en-US" dirty="0"/>
              <a:t> Board (Scrum Board)  - https://easyretro.io/publicboard/K4TJLfaixtZPhOqz3R0NH6xarN12/94132534-22e6-4fec-b883-5439a2bfd9e8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B7A63C-D14F-4165-BCD5-D6FE85EAE834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777389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B7A63C-D14F-4165-BCD5-D6FE85EAE834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02665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- What is </a:t>
            </a:r>
            <a:r>
              <a:rPr kumimoji="1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ea"/>
                <a:ea typeface="+mj-ea"/>
                <a:cs typeface="Arial"/>
              </a:rPr>
              <a:t>Infrastructure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AAED7-EB68-B44B-A29A-E9CFE7A1147D}" type="slidenum">
              <a:rPr kumimoji="0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游ゴシック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59017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What is the difference between declarative or imperative programming?</a:t>
            </a:r>
          </a:p>
          <a:p>
            <a:pPr marL="171450" indent="-171450">
              <a:buFontTx/>
              <a:buChar char="-"/>
            </a:pP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AAED7-EB68-B44B-A29A-E9CFE7A1147D}" type="slidenum">
              <a:rPr kumimoji="0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游ゴシック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103436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AAED7-EB68-B44B-A29A-E9CFE7A1147D}" type="slidenum">
              <a:rPr kumimoji="0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游ゴシック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664666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AAED7-EB68-B44B-A29A-E9CFE7A1147D}" type="slidenum">
              <a:rPr kumimoji="0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游ゴシック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49862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AAED7-EB68-B44B-A29A-E9CFE7A1147D}" type="slidenum">
              <a:rPr kumimoji="0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游ゴシック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40150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1200" dirty="0"/>
              <a:t>Writing Some Terraform Code (HCL) to Specify Tracks in a Playlist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1200" dirty="0"/>
              <a:t>Authenticating with Spotify via a Docker Container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endParaRPr kumimoji="1" lang="en-US" sz="1200" dirty="0"/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1200" dirty="0"/>
              <a:t>Deploying our playlist with IaC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AAED7-EB68-B44B-A29A-E9CFE7A1147D}" type="slidenum">
              <a:rPr kumimoji="0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游ゴシック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801256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None/>
            </a:pPr>
            <a:r>
              <a:rPr kumimoji="1" lang="en-US" sz="1200" dirty="0"/>
              <a:t>Providers</a:t>
            </a:r>
          </a:p>
          <a:p>
            <a:pPr marL="171450" indent="-1714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Tx/>
              <a:buChar char="-"/>
            </a:pPr>
            <a:r>
              <a:rPr kumimoji="1" lang="en-US" sz="1200" dirty="0"/>
              <a:t>Terraform Plugins that allow you to interact with</a:t>
            </a:r>
          </a:p>
          <a:p>
            <a:pPr marL="628650" lvl="1" indent="-1714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Tx/>
              <a:buChar char="-"/>
            </a:pPr>
            <a:r>
              <a:rPr kumimoji="1" lang="en-US" sz="1200" dirty="0"/>
              <a:t>Cloud Service Providers</a:t>
            </a:r>
          </a:p>
          <a:p>
            <a:pPr marL="1085850" lvl="2" indent="-1714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Tx/>
              <a:buChar char="-"/>
            </a:pPr>
            <a:r>
              <a:rPr kumimoji="1" lang="en-US" sz="1200" dirty="0"/>
              <a:t>E.g. Azure, AWS, or GCP</a:t>
            </a:r>
          </a:p>
          <a:p>
            <a:pPr marL="628650" lvl="1" indent="-1714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Tx/>
              <a:buChar char="-"/>
            </a:pPr>
            <a:r>
              <a:rPr kumimoji="1" lang="en-US" sz="1200" dirty="0"/>
              <a:t>Software as a Service (SaaS) Providers</a:t>
            </a:r>
          </a:p>
          <a:p>
            <a:pPr marL="1085850" lvl="2" indent="-1714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Tx/>
              <a:buChar char="-"/>
            </a:pPr>
            <a:r>
              <a:rPr kumimoji="1" lang="en-US" sz="1200" dirty="0"/>
              <a:t>E.g. GitHub, Angola, Stripe</a:t>
            </a:r>
          </a:p>
          <a:p>
            <a:pPr marL="628650" lvl="1" indent="-1714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Tx/>
              <a:buChar char="-"/>
            </a:pPr>
            <a:r>
              <a:rPr kumimoji="1" lang="en-US" sz="1200" dirty="0"/>
              <a:t>Other APIs</a:t>
            </a:r>
          </a:p>
          <a:p>
            <a:pPr marL="1085850" lvl="2" indent="-1714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Tx/>
              <a:buChar char="-"/>
            </a:pPr>
            <a:r>
              <a:rPr kumimoji="1" lang="en-US" sz="1200" dirty="0"/>
              <a:t>E.g. Kubernetes, Postgres</a:t>
            </a:r>
          </a:p>
          <a:p>
            <a:pPr marL="171450" lvl="0" indent="-1714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Tx/>
              <a:buChar char="-"/>
            </a:pPr>
            <a:r>
              <a:rPr kumimoji="1" lang="en-US" sz="1200" dirty="0"/>
              <a:t>Providers are required in terraform configuration</a:t>
            </a:r>
          </a:p>
          <a:p>
            <a:pPr marL="171450" lvl="0" indent="-1714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Tx/>
              <a:buChar char="-"/>
            </a:pPr>
            <a:r>
              <a:rPr kumimoji="1" lang="en-US" sz="1200" dirty="0"/>
              <a:t>Must be downloaded prior to deploy with terraform </a:t>
            </a:r>
            <a:r>
              <a:rPr kumimoji="1" lang="en-US" sz="1200" dirty="0" err="1"/>
              <a:t>init</a:t>
            </a:r>
            <a:endParaRPr kumimoji="1" lang="en-US" sz="1200" dirty="0"/>
          </a:p>
          <a:p>
            <a:pPr marL="171450" lvl="0" indent="-1714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Tx/>
              <a:buChar char="-"/>
            </a:pPr>
            <a:endParaRPr kumimoji="1" lang="en-US" sz="1200" dirty="0"/>
          </a:p>
          <a:p>
            <a:pPr marL="0" lvl="0" indent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Tx/>
              <a:buNone/>
            </a:pPr>
            <a:r>
              <a:rPr kumimoji="1" lang="en-US" sz="1200" dirty="0"/>
              <a:t>Blocks</a:t>
            </a:r>
          </a:p>
          <a:p>
            <a:pPr marL="171450" lvl="0" indent="-1714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Tx/>
              <a:buChar char="-"/>
            </a:pPr>
            <a:r>
              <a:rPr kumimoji="1" lang="en-US" sz="1200" dirty="0"/>
              <a:t>Blocks are the syntactical containers for resources, data, and other types of objects represented in HCL</a:t>
            </a:r>
          </a:p>
          <a:p>
            <a:pPr marL="171450" lvl="0" indent="-1714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Tx/>
              <a:buChar char="-"/>
            </a:pPr>
            <a:r>
              <a:rPr kumimoji="1" lang="en-US" sz="1200" dirty="0"/>
              <a:t>Blocks always have a </a:t>
            </a:r>
            <a:r>
              <a:rPr kumimoji="1" lang="en-US" sz="1200" u="sng" dirty="0"/>
              <a:t>type</a:t>
            </a:r>
            <a:r>
              <a:rPr kumimoji="1" lang="en-US" sz="1200" dirty="0"/>
              <a:t> and a </a:t>
            </a:r>
            <a:r>
              <a:rPr kumimoji="1" lang="en-US" sz="1200" u="sng" dirty="0"/>
              <a:t>label</a:t>
            </a:r>
            <a:r>
              <a:rPr kumimoji="1" lang="en-US" sz="1200" dirty="0"/>
              <a:t>. In the Data Block on the top right, ‘</a:t>
            </a:r>
            <a:r>
              <a:rPr kumimoji="1" lang="en-US" sz="1200" dirty="0" err="1"/>
              <a:t>spotify_track</a:t>
            </a:r>
            <a:r>
              <a:rPr kumimoji="1" lang="en-US" sz="1200" dirty="0"/>
              <a:t>’ is the type and ‘</a:t>
            </a:r>
            <a:r>
              <a:rPr kumimoji="1" lang="en-US" sz="1200" dirty="0" err="1"/>
              <a:t>dreams_fleetwoodmac</a:t>
            </a:r>
            <a:r>
              <a:rPr kumimoji="1" lang="en-US" sz="1200" dirty="0"/>
              <a:t>’ is the label or name of the block</a:t>
            </a:r>
          </a:p>
          <a:p>
            <a:pPr marL="171450" lvl="0" indent="-1714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Tx/>
              <a:buChar char="-"/>
            </a:pPr>
            <a:r>
              <a:rPr kumimoji="1" lang="en-US" sz="1200" dirty="0"/>
              <a:t>Blocks also have </a:t>
            </a:r>
            <a:r>
              <a:rPr kumimoji="1" lang="en-US" sz="1200" u="sng" dirty="0"/>
              <a:t>arguments</a:t>
            </a:r>
            <a:r>
              <a:rPr kumimoji="1" lang="en-US" sz="1200" u="none" dirty="0"/>
              <a:t>. In this case </a:t>
            </a:r>
            <a:r>
              <a:rPr kumimoji="1" lang="en-US" sz="1200" u="none" dirty="0" err="1"/>
              <a:t>spotify_id</a:t>
            </a:r>
            <a:r>
              <a:rPr kumimoji="1" lang="en-US" sz="1200" u="none" dirty="0"/>
              <a:t> is an argument</a:t>
            </a:r>
            <a:endParaRPr kumimoji="1" lang="en-US" sz="1200" u="sng" dirty="0"/>
          </a:p>
          <a:p>
            <a:pPr marL="0" lvl="0" indent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Tx/>
              <a:buNone/>
            </a:pPr>
            <a:endParaRPr kumimoji="1" lang="en-US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AAED7-EB68-B44B-A29A-E9CFE7A1147D}" type="slidenum">
              <a:rPr kumimoji="0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游ゴシック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604239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1200" dirty="0"/>
              <a:t>Writing Some Terraform Code (HCL) to Specify Tracks in a Playlist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1200" dirty="0"/>
              <a:t>Authenticating with Spotify via a Docker Container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endParaRPr kumimoji="1" lang="en-US" sz="1200" dirty="0"/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1200" dirty="0"/>
              <a:t>Deploying our playlist with IaC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AAED7-EB68-B44B-A29A-E9CFE7A1147D}" type="slidenum">
              <a:rPr kumimoji="0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游ゴシック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37532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D (Human Blue NTT DAT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8C16D88F-D3AA-4215-B90D-94BA02C36478}"/>
              </a:ext>
            </a:extLst>
          </p:cNvPr>
          <p:cNvSpPr/>
          <p:nvPr userDrawn="1"/>
        </p:nvSpPr>
        <p:spPr>
          <a:xfrm>
            <a:off x="0" y="4343400"/>
            <a:ext cx="12192000" cy="381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555AFE7-4539-4C90-A7AD-212C67DB72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1"/>
            <a:ext cx="12192119" cy="4495801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17" name="正方形/長方形 16"/>
          <p:cNvSpPr/>
          <p:nvPr userDrawn="1"/>
        </p:nvSpPr>
        <p:spPr>
          <a:xfrm>
            <a:off x="0" y="4724400"/>
            <a:ext cx="12192119" cy="2144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800" b="0" i="0">
              <a:latin typeface="HGPGothicE" charset="-128"/>
              <a:ea typeface="HGPGothicE" charset="-128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5FEE76F-2258-4144-9F94-AF2261817D39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3575999" y="5839504"/>
            <a:ext cx="7092002" cy="1011600"/>
          </a:xfrm>
          <a:prstGeom prst="rect">
            <a:avLst/>
          </a:prstGeom>
          <a:effectLst/>
        </p:spPr>
        <p:txBody>
          <a:bodyPr rIns="274320" anchor="ctr">
            <a:normAutofit/>
          </a:bodyPr>
          <a:lstStyle>
            <a:lvl1pPr marL="0" marR="0" indent="0" algn="l" defTabSz="609555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 sz="1400" b="0" i="0" baseline="0">
                <a:solidFill>
                  <a:srgbClr val="FFFFFF"/>
                </a:solidFill>
                <a:latin typeface="+mn-lt"/>
                <a:ea typeface="HGPGothicE" charset="-128"/>
                <a:cs typeface="HGPGothicE" charset="-128"/>
              </a:defRPr>
            </a:lvl1pPr>
            <a:lvl2pPr marL="609555" indent="0">
              <a:buNone/>
              <a:defRPr sz="140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defRPr>
            </a:lvl2pPr>
            <a:lvl3pPr marL="1219110" indent="0">
              <a:buNone/>
              <a:defRPr sz="140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defRPr>
            </a:lvl3pPr>
            <a:lvl4pPr marL="182866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21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772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32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6880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435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609555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altLang="ja-JP"/>
              <a:t>&lt;MM/DD/YYYY&gt;</a:t>
            </a:r>
            <a:br>
              <a:rPr lang="en-US" altLang="ja-JP"/>
            </a:br>
            <a:r>
              <a:rPr lang="en-US" altLang="ja-JP"/>
              <a:t>&lt;NTT DATA, Inc.&gt;</a:t>
            </a:r>
            <a:br>
              <a:rPr lang="en-US" altLang="ja-JP"/>
            </a:br>
            <a:r>
              <a:rPr lang="en-US" altLang="ja-JP"/>
              <a:t>&lt;XXXXXXXXXXXX&gt;</a:t>
            </a:r>
          </a:p>
        </p:txBody>
      </p:sp>
      <p:sp>
        <p:nvSpPr>
          <p:cNvPr id="12" name="タイトル 1">
            <a:extLst>
              <a:ext uri="{FF2B5EF4-FFF2-40B4-BE49-F238E27FC236}">
                <a16:creationId xmlns:a16="http://schemas.microsoft.com/office/drawing/2014/main" id="{2E76A378-9C19-4F49-B868-7D70D581E9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75999" y="4770296"/>
            <a:ext cx="7092002" cy="990000"/>
          </a:xfrm>
          <a:prstGeom prst="rect">
            <a:avLst/>
          </a:prstGeom>
          <a:effectLst/>
        </p:spPr>
        <p:txBody>
          <a:bodyPr rIns="274320" anchor="ctr">
            <a:normAutofit/>
          </a:bodyPr>
          <a:lstStyle>
            <a:lvl1pPr>
              <a:defRPr lang="en-US" altLang="ja-JP" sz="2000" spc="0" dirty="0" smtClean="0">
                <a:solidFill>
                  <a:srgbClr val="FFFFFF"/>
                </a:solidFill>
                <a:latin typeface="+mj-lt"/>
              </a:defRPr>
            </a:lvl1pPr>
          </a:lstStyle>
          <a:p>
            <a:pPr marL="0" lvl="0" indent="0" fontAlgn="ctr">
              <a:spcBef>
                <a:spcPts val="0"/>
              </a:spcBef>
              <a:buFont typeface="Arial" pitchFamily="34" charset="0"/>
              <a:buNone/>
            </a:pPr>
            <a:r>
              <a:rPr kumimoji="1" lang="en-US" altLang="ja-JP"/>
              <a:t>[Title]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22BA0EB-7D02-4113-A1C3-72AC880B02B2}"/>
              </a:ext>
            </a:extLst>
          </p:cNvPr>
          <p:cNvSpPr txBox="1"/>
          <p:nvPr userDrawn="1"/>
        </p:nvSpPr>
        <p:spPr>
          <a:xfrm>
            <a:off x="9067800" y="6544699"/>
            <a:ext cx="28194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kumimoji="1" lang="en-US" sz="8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2 NTT DATA, Inc. All rights reserved.</a:t>
            </a:r>
            <a:endParaRPr lang="en-US"/>
          </a:p>
        </p:txBody>
      </p:sp>
      <p:pic>
        <p:nvPicPr>
          <p:cNvPr id="9" name="図 17">
            <a:extLst>
              <a:ext uri="{FF2B5EF4-FFF2-40B4-BE49-F238E27FC236}">
                <a16:creationId xmlns:a16="http://schemas.microsoft.com/office/drawing/2014/main" id="{8E846098-E9B2-47B1-B500-94687280962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57200"/>
            <a:ext cx="3555998" cy="6400801"/>
          </a:xfrm>
          <a:prstGeom prst="rect">
            <a:avLst/>
          </a:prstGeom>
        </p:spPr>
      </p:pic>
      <p:pic>
        <p:nvPicPr>
          <p:cNvPr id="19" name="図 12">
            <a:extLst>
              <a:ext uri="{FF2B5EF4-FFF2-40B4-BE49-F238E27FC236}">
                <a16:creationId xmlns:a16="http://schemas.microsoft.com/office/drawing/2014/main" id="{B7144AFF-F9E0-4551-91F0-6F6BB3B75C0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6503" y="253134"/>
            <a:ext cx="2635200" cy="902800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1F86218C-0F1D-4DB9-B276-D6F1599BF2B8}"/>
              </a:ext>
            </a:extLst>
          </p:cNvPr>
          <p:cNvGrpSpPr/>
          <p:nvPr userDrawn="1"/>
        </p:nvGrpSpPr>
        <p:grpSpPr>
          <a:xfrm>
            <a:off x="609600" y="481850"/>
            <a:ext cx="9725902" cy="3556750"/>
            <a:chOff x="652957" y="5491864"/>
            <a:chExt cx="1818194" cy="663994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9FD4D94D-EBCF-4254-BA3B-3B9C5E5C300F}"/>
                </a:ext>
              </a:extLst>
            </p:cNvPr>
            <p:cNvSpPr/>
            <p:nvPr/>
          </p:nvSpPr>
          <p:spPr>
            <a:xfrm>
              <a:off x="652957" y="5491864"/>
              <a:ext cx="1002505" cy="663994"/>
            </a:xfrm>
            <a:custGeom>
              <a:avLst/>
              <a:gdLst>
                <a:gd name="connsiteX0" fmla="*/ 0 w 4312048"/>
                <a:gd name="connsiteY0" fmla="*/ 1 h 2856019"/>
                <a:gd name="connsiteX1" fmla="*/ 0 w 4312048"/>
                <a:gd name="connsiteY1" fmla="*/ 357003 h 2856019"/>
                <a:gd name="connsiteX2" fmla="*/ 0 w 4312048"/>
                <a:gd name="connsiteY2" fmla="*/ 714005 h 2856019"/>
                <a:gd name="connsiteX3" fmla="*/ 0 w 4312048"/>
                <a:gd name="connsiteY3" fmla="*/ 1071008 h 2856019"/>
                <a:gd name="connsiteX4" fmla="*/ 0 w 4312048"/>
                <a:gd name="connsiteY4" fmla="*/ 1428010 h 2856019"/>
                <a:gd name="connsiteX5" fmla="*/ 0 w 4312048"/>
                <a:gd name="connsiteY5" fmla="*/ 1785012 h 2856019"/>
                <a:gd name="connsiteX6" fmla="*/ 0 w 4312048"/>
                <a:gd name="connsiteY6" fmla="*/ 2142015 h 2856019"/>
                <a:gd name="connsiteX7" fmla="*/ 0 w 4312048"/>
                <a:gd name="connsiteY7" fmla="*/ 2499017 h 2856019"/>
                <a:gd name="connsiteX8" fmla="*/ 0 w 4312048"/>
                <a:gd name="connsiteY8" fmla="*/ 2856019 h 2856019"/>
                <a:gd name="connsiteX9" fmla="*/ 144918 w 4312048"/>
                <a:gd name="connsiteY9" fmla="*/ 2856019 h 2856019"/>
                <a:gd name="connsiteX10" fmla="*/ 289835 w 4312048"/>
                <a:gd name="connsiteY10" fmla="*/ 2856019 h 2856019"/>
                <a:gd name="connsiteX11" fmla="*/ 434753 w 4312048"/>
                <a:gd name="connsiteY11" fmla="*/ 2856019 h 2856019"/>
                <a:gd name="connsiteX12" fmla="*/ 579671 w 4312048"/>
                <a:gd name="connsiteY12" fmla="*/ 2856019 h 2856019"/>
                <a:gd name="connsiteX13" fmla="*/ 724589 w 4312048"/>
                <a:gd name="connsiteY13" fmla="*/ 2856019 h 2856019"/>
                <a:gd name="connsiteX14" fmla="*/ 869506 w 4312048"/>
                <a:gd name="connsiteY14" fmla="*/ 2856019 h 2856019"/>
                <a:gd name="connsiteX15" fmla="*/ 1014424 w 4312048"/>
                <a:gd name="connsiteY15" fmla="*/ 2856019 h 2856019"/>
                <a:gd name="connsiteX16" fmla="*/ 1159342 w 4312048"/>
                <a:gd name="connsiteY16" fmla="*/ 2856019 h 2856019"/>
                <a:gd name="connsiteX17" fmla="*/ 1285776 w 4312048"/>
                <a:gd name="connsiteY17" fmla="*/ 2851820 h 2856019"/>
                <a:gd name="connsiteX18" fmla="*/ 1404180 w 4312048"/>
                <a:gd name="connsiteY18" fmla="*/ 2841186 h 2856019"/>
                <a:gd name="connsiteX19" fmla="*/ 1514552 w 4312048"/>
                <a:gd name="connsiteY19" fmla="*/ 2824115 h 2856019"/>
                <a:gd name="connsiteX20" fmla="*/ 1616894 w 4312048"/>
                <a:gd name="connsiteY20" fmla="*/ 2800609 h 2856019"/>
                <a:gd name="connsiteX21" fmla="*/ 1711205 w 4312048"/>
                <a:gd name="connsiteY21" fmla="*/ 2770666 h 2856019"/>
                <a:gd name="connsiteX22" fmla="*/ 1797486 w 4312048"/>
                <a:gd name="connsiteY22" fmla="*/ 2734286 h 2856019"/>
                <a:gd name="connsiteX23" fmla="*/ 1875737 w 4312048"/>
                <a:gd name="connsiteY23" fmla="*/ 2691470 h 2856019"/>
                <a:gd name="connsiteX24" fmla="*/ 1945958 w 4312048"/>
                <a:gd name="connsiteY24" fmla="*/ 2642217 h 2856019"/>
                <a:gd name="connsiteX25" fmla="*/ 2008486 w 4312048"/>
                <a:gd name="connsiteY25" fmla="*/ 2586006 h 2856019"/>
                <a:gd name="connsiteX26" fmla="*/ 2062677 w 4312048"/>
                <a:gd name="connsiteY26" fmla="*/ 2523298 h 2856019"/>
                <a:gd name="connsiteX27" fmla="*/ 2108532 w 4312048"/>
                <a:gd name="connsiteY27" fmla="*/ 2454092 h 2856019"/>
                <a:gd name="connsiteX28" fmla="*/ 2146049 w 4312048"/>
                <a:gd name="connsiteY28" fmla="*/ 2378388 h 2856019"/>
                <a:gd name="connsiteX29" fmla="*/ 2175230 w 4312048"/>
                <a:gd name="connsiteY29" fmla="*/ 2296187 h 2856019"/>
                <a:gd name="connsiteX30" fmla="*/ 2196073 w 4312048"/>
                <a:gd name="connsiteY30" fmla="*/ 2207488 h 2856019"/>
                <a:gd name="connsiteX31" fmla="*/ 2208579 w 4312048"/>
                <a:gd name="connsiteY31" fmla="*/ 2112291 h 2856019"/>
                <a:gd name="connsiteX32" fmla="*/ 2212748 w 4312048"/>
                <a:gd name="connsiteY32" fmla="*/ 2010596 h 2856019"/>
                <a:gd name="connsiteX33" fmla="*/ 2210880 w 4312048"/>
                <a:gd name="connsiteY33" fmla="*/ 1953833 h 2856019"/>
                <a:gd name="connsiteX34" fmla="*/ 2205271 w 4312048"/>
                <a:gd name="connsiteY34" fmla="*/ 1899277 h 2856019"/>
                <a:gd name="connsiteX35" fmla="*/ 2195923 w 4312048"/>
                <a:gd name="connsiteY35" fmla="*/ 1846927 h 2856019"/>
                <a:gd name="connsiteX36" fmla="*/ 2182836 w 4312048"/>
                <a:gd name="connsiteY36" fmla="*/ 1796783 h 2856019"/>
                <a:gd name="connsiteX37" fmla="*/ 2166009 w 4312048"/>
                <a:gd name="connsiteY37" fmla="*/ 1748847 h 2856019"/>
                <a:gd name="connsiteX38" fmla="*/ 2145443 w 4312048"/>
                <a:gd name="connsiteY38" fmla="*/ 1703117 h 2856019"/>
                <a:gd name="connsiteX39" fmla="*/ 2121138 w 4312048"/>
                <a:gd name="connsiteY39" fmla="*/ 1659594 h 2856019"/>
                <a:gd name="connsiteX40" fmla="*/ 2093092 w 4312048"/>
                <a:gd name="connsiteY40" fmla="*/ 1618279 h 2856019"/>
                <a:gd name="connsiteX41" fmla="*/ 2061552 w 4312048"/>
                <a:gd name="connsiteY41" fmla="*/ 1579661 h 2856019"/>
                <a:gd name="connsiteX42" fmla="*/ 2026763 w 4312048"/>
                <a:gd name="connsiteY42" fmla="*/ 1544231 h 2856019"/>
                <a:gd name="connsiteX43" fmla="*/ 1988725 w 4312048"/>
                <a:gd name="connsiteY43" fmla="*/ 1511988 h 2856019"/>
                <a:gd name="connsiteX44" fmla="*/ 1947437 w 4312048"/>
                <a:gd name="connsiteY44" fmla="*/ 1482933 h 2856019"/>
                <a:gd name="connsiteX45" fmla="*/ 1902901 w 4312048"/>
                <a:gd name="connsiteY45" fmla="*/ 1457065 h 2856019"/>
                <a:gd name="connsiteX46" fmla="*/ 1855116 w 4312048"/>
                <a:gd name="connsiteY46" fmla="*/ 1434385 h 2856019"/>
                <a:gd name="connsiteX47" fmla="*/ 1804082 w 4312048"/>
                <a:gd name="connsiteY47" fmla="*/ 1414892 h 2856019"/>
                <a:gd name="connsiteX48" fmla="*/ 1749799 w 4312048"/>
                <a:gd name="connsiteY48" fmla="*/ 1398586 h 2856019"/>
                <a:gd name="connsiteX49" fmla="*/ 1797829 w 4312048"/>
                <a:gd name="connsiteY49" fmla="*/ 1378665 h 2856019"/>
                <a:gd name="connsiteX50" fmla="*/ 1842856 w 4312048"/>
                <a:gd name="connsiteY50" fmla="*/ 1356169 h 2856019"/>
                <a:gd name="connsiteX51" fmla="*/ 1884879 w 4312048"/>
                <a:gd name="connsiteY51" fmla="*/ 1331100 h 2856019"/>
                <a:gd name="connsiteX52" fmla="*/ 1923899 w 4312048"/>
                <a:gd name="connsiteY52" fmla="*/ 1303455 h 2856019"/>
                <a:gd name="connsiteX53" fmla="*/ 1959915 w 4312048"/>
                <a:gd name="connsiteY53" fmla="*/ 1273237 h 2856019"/>
                <a:gd name="connsiteX54" fmla="*/ 1992927 w 4312048"/>
                <a:gd name="connsiteY54" fmla="*/ 1240443 h 2856019"/>
                <a:gd name="connsiteX55" fmla="*/ 2022934 w 4312048"/>
                <a:gd name="connsiteY55" fmla="*/ 1205075 h 2856019"/>
                <a:gd name="connsiteX56" fmla="*/ 2049938 w 4312048"/>
                <a:gd name="connsiteY56" fmla="*/ 1167132 h 2856019"/>
                <a:gd name="connsiteX57" fmla="*/ 2073845 w 4312048"/>
                <a:gd name="connsiteY57" fmla="*/ 1126889 h 2856019"/>
                <a:gd name="connsiteX58" fmla="*/ 2094565 w 4312048"/>
                <a:gd name="connsiteY58" fmla="*/ 1084624 h 2856019"/>
                <a:gd name="connsiteX59" fmla="*/ 2112097 w 4312048"/>
                <a:gd name="connsiteY59" fmla="*/ 1040335 h 2856019"/>
                <a:gd name="connsiteX60" fmla="*/ 2126441 w 4312048"/>
                <a:gd name="connsiteY60" fmla="*/ 994024 h 2856019"/>
                <a:gd name="connsiteX61" fmla="*/ 2137598 w 4312048"/>
                <a:gd name="connsiteY61" fmla="*/ 945690 h 2856019"/>
                <a:gd name="connsiteX62" fmla="*/ 2145567 w 4312048"/>
                <a:gd name="connsiteY62" fmla="*/ 895333 h 2856019"/>
                <a:gd name="connsiteX63" fmla="*/ 2150348 w 4312048"/>
                <a:gd name="connsiteY63" fmla="*/ 842954 h 2856019"/>
                <a:gd name="connsiteX64" fmla="*/ 2151942 w 4312048"/>
                <a:gd name="connsiteY64" fmla="*/ 788551 h 2856019"/>
                <a:gd name="connsiteX65" fmla="*/ 2147436 w 4312048"/>
                <a:gd name="connsiteY65" fmla="*/ 695285 h 2856019"/>
                <a:gd name="connsiteX66" fmla="*/ 2133917 w 4312048"/>
                <a:gd name="connsiteY66" fmla="*/ 607720 h 2856019"/>
                <a:gd name="connsiteX67" fmla="*/ 2111387 w 4312048"/>
                <a:gd name="connsiteY67" fmla="*/ 525855 h 2856019"/>
                <a:gd name="connsiteX68" fmla="*/ 2079845 w 4312048"/>
                <a:gd name="connsiteY68" fmla="*/ 449690 h 2856019"/>
                <a:gd name="connsiteX69" fmla="*/ 2039291 w 4312048"/>
                <a:gd name="connsiteY69" fmla="*/ 379226 h 2856019"/>
                <a:gd name="connsiteX70" fmla="*/ 1989727 w 4312048"/>
                <a:gd name="connsiteY70" fmla="*/ 314463 h 2856019"/>
                <a:gd name="connsiteX71" fmla="*/ 1931152 w 4312048"/>
                <a:gd name="connsiteY71" fmla="*/ 255402 h 2856019"/>
                <a:gd name="connsiteX72" fmla="*/ 1863566 w 4312048"/>
                <a:gd name="connsiteY72" fmla="*/ 202041 h 2856019"/>
                <a:gd name="connsiteX73" fmla="*/ 1787827 w 4312048"/>
                <a:gd name="connsiteY73" fmla="*/ 154688 h 2856019"/>
                <a:gd name="connsiteX74" fmla="*/ 1703814 w 4312048"/>
                <a:gd name="connsiteY74" fmla="*/ 113648 h 2856019"/>
                <a:gd name="connsiteX75" fmla="*/ 1611525 w 4312048"/>
                <a:gd name="connsiteY75" fmla="*/ 78923 h 2856019"/>
                <a:gd name="connsiteX76" fmla="*/ 1510962 w 4312048"/>
                <a:gd name="connsiteY76" fmla="*/ 50511 h 2856019"/>
                <a:gd name="connsiteX77" fmla="*/ 1402122 w 4312048"/>
                <a:gd name="connsiteY77" fmla="*/ 28413 h 2856019"/>
                <a:gd name="connsiteX78" fmla="*/ 1285006 w 4312048"/>
                <a:gd name="connsiteY78" fmla="*/ 12628 h 2856019"/>
                <a:gd name="connsiteX79" fmla="*/ 1159615 w 4312048"/>
                <a:gd name="connsiteY79" fmla="*/ 3158 h 2856019"/>
                <a:gd name="connsiteX80" fmla="*/ 1025947 w 4312048"/>
                <a:gd name="connsiteY80" fmla="*/ 0 h 2856019"/>
                <a:gd name="connsiteX81" fmla="*/ 897704 w 4312048"/>
                <a:gd name="connsiteY81" fmla="*/ 0 h 2856019"/>
                <a:gd name="connsiteX82" fmla="*/ 769460 w 4312048"/>
                <a:gd name="connsiteY82" fmla="*/ 0 h 2856019"/>
                <a:gd name="connsiteX83" fmla="*/ 641217 w 4312048"/>
                <a:gd name="connsiteY83" fmla="*/ 0 h 2856019"/>
                <a:gd name="connsiteX84" fmla="*/ 512974 w 4312048"/>
                <a:gd name="connsiteY84" fmla="*/ 0 h 2856019"/>
                <a:gd name="connsiteX85" fmla="*/ 384730 w 4312048"/>
                <a:gd name="connsiteY85" fmla="*/ 0 h 2856019"/>
                <a:gd name="connsiteX86" fmla="*/ 256487 w 4312048"/>
                <a:gd name="connsiteY86" fmla="*/ 0 h 2856019"/>
                <a:gd name="connsiteX87" fmla="*/ 128243 w 4312048"/>
                <a:gd name="connsiteY87" fmla="*/ 0 h 2856019"/>
                <a:gd name="connsiteX88" fmla="*/ 2340591 w 4312048"/>
                <a:gd name="connsiteY88" fmla="*/ 1 h 2856019"/>
                <a:gd name="connsiteX89" fmla="*/ 2340591 w 4312048"/>
                <a:gd name="connsiteY89" fmla="*/ 2856019 h 2856019"/>
                <a:gd name="connsiteX90" fmla="*/ 4308117 w 4312048"/>
                <a:gd name="connsiteY90" fmla="*/ 2856019 h 2856019"/>
                <a:gd name="connsiteX91" fmla="*/ 4308117 w 4312048"/>
                <a:gd name="connsiteY91" fmla="*/ 2326398 h 2856019"/>
                <a:gd name="connsiteX92" fmla="*/ 3029117 w 4312048"/>
                <a:gd name="connsiteY92" fmla="*/ 2326398 h 2856019"/>
                <a:gd name="connsiteX93" fmla="*/ 3029117 w 4312048"/>
                <a:gd name="connsiteY93" fmla="*/ 1645736 h 2856019"/>
                <a:gd name="connsiteX94" fmla="*/ 4111956 w 4312048"/>
                <a:gd name="connsiteY94" fmla="*/ 1645736 h 2856019"/>
                <a:gd name="connsiteX95" fmla="*/ 4111956 w 4312048"/>
                <a:gd name="connsiteY95" fmla="*/ 1133785 h 2856019"/>
                <a:gd name="connsiteX96" fmla="*/ 3029117 w 4312048"/>
                <a:gd name="connsiteY96" fmla="*/ 1133785 h 2856019"/>
                <a:gd name="connsiteX97" fmla="*/ 3029117 w 4312048"/>
                <a:gd name="connsiteY97" fmla="*/ 531580 h 2856019"/>
                <a:gd name="connsiteX98" fmla="*/ 4312049 w 4312048"/>
                <a:gd name="connsiteY98" fmla="*/ 531580 h 2856019"/>
                <a:gd name="connsiteX99" fmla="*/ 4312049 w 4312048"/>
                <a:gd name="connsiteY99" fmla="*/ 1 h 2856019"/>
                <a:gd name="connsiteX100" fmla="*/ 688544 w 4312048"/>
                <a:gd name="connsiteY100" fmla="*/ 531580 h 2856019"/>
                <a:gd name="connsiteX101" fmla="*/ 730719 w 4312048"/>
                <a:gd name="connsiteY101" fmla="*/ 531580 h 2856019"/>
                <a:gd name="connsiteX102" fmla="*/ 772894 w 4312048"/>
                <a:gd name="connsiteY102" fmla="*/ 531580 h 2856019"/>
                <a:gd name="connsiteX103" fmla="*/ 815070 w 4312048"/>
                <a:gd name="connsiteY103" fmla="*/ 531580 h 2856019"/>
                <a:gd name="connsiteX104" fmla="*/ 857245 w 4312048"/>
                <a:gd name="connsiteY104" fmla="*/ 531580 h 2856019"/>
                <a:gd name="connsiteX105" fmla="*/ 899421 w 4312048"/>
                <a:gd name="connsiteY105" fmla="*/ 531580 h 2856019"/>
                <a:gd name="connsiteX106" fmla="*/ 941596 w 4312048"/>
                <a:gd name="connsiteY106" fmla="*/ 531580 h 2856019"/>
                <a:gd name="connsiteX107" fmla="*/ 983772 w 4312048"/>
                <a:gd name="connsiteY107" fmla="*/ 531580 h 2856019"/>
                <a:gd name="connsiteX108" fmla="*/ 1025947 w 4312048"/>
                <a:gd name="connsiteY108" fmla="*/ 531580 h 2856019"/>
                <a:gd name="connsiteX109" fmla="*/ 1081824 w 4312048"/>
                <a:gd name="connsiteY109" fmla="*/ 532837 h 2856019"/>
                <a:gd name="connsiteX110" fmla="*/ 1133716 w 4312048"/>
                <a:gd name="connsiteY110" fmla="*/ 536607 h 2856019"/>
                <a:gd name="connsiteX111" fmla="*/ 1181623 w 4312048"/>
                <a:gd name="connsiteY111" fmla="*/ 542892 h 2856019"/>
                <a:gd name="connsiteX112" fmla="*/ 1225547 w 4312048"/>
                <a:gd name="connsiteY112" fmla="*/ 551690 h 2856019"/>
                <a:gd name="connsiteX113" fmla="*/ 1265485 w 4312048"/>
                <a:gd name="connsiteY113" fmla="*/ 563001 h 2856019"/>
                <a:gd name="connsiteX114" fmla="*/ 1301439 w 4312048"/>
                <a:gd name="connsiteY114" fmla="*/ 576825 h 2856019"/>
                <a:gd name="connsiteX115" fmla="*/ 1333408 w 4312048"/>
                <a:gd name="connsiteY115" fmla="*/ 593161 h 2856019"/>
                <a:gd name="connsiteX116" fmla="*/ 1361392 w 4312048"/>
                <a:gd name="connsiteY116" fmla="*/ 612011 h 2856019"/>
                <a:gd name="connsiteX117" fmla="*/ 1385760 w 4312048"/>
                <a:gd name="connsiteY117" fmla="*/ 633220 h 2856019"/>
                <a:gd name="connsiteX118" fmla="*/ 1406877 w 4312048"/>
                <a:gd name="connsiteY118" fmla="*/ 657615 h 2856019"/>
                <a:gd name="connsiteX119" fmla="*/ 1424746 w 4312048"/>
                <a:gd name="connsiteY119" fmla="*/ 685198 h 2856019"/>
                <a:gd name="connsiteX120" fmla="*/ 1439365 w 4312048"/>
                <a:gd name="connsiteY120" fmla="*/ 715967 h 2856019"/>
                <a:gd name="connsiteX121" fmla="*/ 1450736 w 4312048"/>
                <a:gd name="connsiteY121" fmla="*/ 749924 h 2856019"/>
                <a:gd name="connsiteX122" fmla="*/ 1458857 w 4312048"/>
                <a:gd name="connsiteY122" fmla="*/ 787069 h 2856019"/>
                <a:gd name="connsiteX123" fmla="*/ 1463730 w 4312048"/>
                <a:gd name="connsiteY123" fmla="*/ 827402 h 2856019"/>
                <a:gd name="connsiteX124" fmla="*/ 1465353 w 4312048"/>
                <a:gd name="connsiteY124" fmla="*/ 870924 h 2856019"/>
                <a:gd name="connsiteX125" fmla="*/ 1463851 w 4312048"/>
                <a:gd name="connsiteY125" fmla="*/ 908960 h 2856019"/>
                <a:gd name="connsiteX126" fmla="*/ 1459346 w 4312048"/>
                <a:gd name="connsiteY126" fmla="*/ 944606 h 2856019"/>
                <a:gd name="connsiteX127" fmla="*/ 1451837 w 4312048"/>
                <a:gd name="connsiteY127" fmla="*/ 977863 h 2856019"/>
                <a:gd name="connsiteX128" fmla="*/ 1441326 w 4312048"/>
                <a:gd name="connsiteY128" fmla="*/ 1008729 h 2856019"/>
                <a:gd name="connsiteX129" fmla="*/ 1427810 w 4312048"/>
                <a:gd name="connsiteY129" fmla="*/ 1037205 h 2856019"/>
                <a:gd name="connsiteX130" fmla="*/ 1411290 w 4312048"/>
                <a:gd name="connsiteY130" fmla="*/ 1063290 h 2856019"/>
                <a:gd name="connsiteX131" fmla="*/ 1391767 w 4312048"/>
                <a:gd name="connsiteY131" fmla="*/ 1086983 h 2856019"/>
                <a:gd name="connsiteX132" fmla="*/ 1369238 w 4312048"/>
                <a:gd name="connsiteY132" fmla="*/ 1108285 h 2856019"/>
                <a:gd name="connsiteX133" fmla="*/ 1343185 w 4312048"/>
                <a:gd name="connsiteY133" fmla="*/ 1127165 h 2856019"/>
                <a:gd name="connsiteX134" fmla="*/ 1313086 w 4312048"/>
                <a:gd name="connsiteY134" fmla="*/ 1143592 h 2856019"/>
                <a:gd name="connsiteX135" fmla="*/ 1278942 w 4312048"/>
                <a:gd name="connsiteY135" fmla="*/ 1157566 h 2856019"/>
                <a:gd name="connsiteX136" fmla="*/ 1240752 w 4312048"/>
                <a:gd name="connsiteY136" fmla="*/ 1169088 h 2856019"/>
                <a:gd name="connsiteX137" fmla="*/ 1198516 w 4312048"/>
                <a:gd name="connsiteY137" fmla="*/ 1178158 h 2856019"/>
                <a:gd name="connsiteX138" fmla="*/ 1152233 w 4312048"/>
                <a:gd name="connsiteY138" fmla="*/ 1184776 h 2856019"/>
                <a:gd name="connsiteX139" fmla="*/ 1101905 w 4312048"/>
                <a:gd name="connsiteY139" fmla="*/ 1188942 h 2856019"/>
                <a:gd name="connsiteX140" fmla="*/ 1047531 w 4312048"/>
                <a:gd name="connsiteY140" fmla="*/ 1190657 h 2856019"/>
                <a:gd name="connsiteX141" fmla="*/ 1002657 w 4312048"/>
                <a:gd name="connsiteY141" fmla="*/ 1190657 h 2856019"/>
                <a:gd name="connsiteX142" fmla="*/ 957784 w 4312048"/>
                <a:gd name="connsiteY142" fmla="*/ 1190657 h 2856019"/>
                <a:gd name="connsiteX143" fmla="*/ 912910 w 4312048"/>
                <a:gd name="connsiteY143" fmla="*/ 1190657 h 2856019"/>
                <a:gd name="connsiteX144" fmla="*/ 868036 w 4312048"/>
                <a:gd name="connsiteY144" fmla="*/ 1190657 h 2856019"/>
                <a:gd name="connsiteX145" fmla="*/ 823163 w 4312048"/>
                <a:gd name="connsiteY145" fmla="*/ 1190657 h 2856019"/>
                <a:gd name="connsiteX146" fmla="*/ 778289 w 4312048"/>
                <a:gd name="connsiteY146" fmla="*/ 1190657 h 2856019"/>
                <a:gd name="connsiteX147" fmla="*/ 733416 w 4312048"/>
                <a:gd name="connsiteY147" fmla="*/ 1190657 h 2856019"/>
                <a:gd name="connsiteX148" fmla="*/ 688542 w 4312048"/>
                <a:gd name="connsiteY148" fmla="*/ 1190657 h 2856019"/>
                <a:gd name="connsiteX149" fmla="*/ 688542 w 4312048"/>
                <a:gd name="connsiteY149" fmla="*/ 1108272 h 2856019"/>
                <a:gd name="connsiteX150" fmla="*/ 688542 w 4312048"/>
                <a:gd name="connsiteY150" fmla="*/ 1025887 h 2856019"/>
                <a:gd name="connsiteX151" fmla="*/ 688542 w 4312048"/>
                <a:gd name="connsiteY151" fmla="*/ 943502 h 2856019"/>
                <a:gd name="connsiteX152" fmla="*/ 688542 w 4312048"/>
                <a:gd name="connsiteY152" fmla="*/ 861118 h 2856019"/>
                <a:gd name="connsiteX153" fmla="*/ 688542 w 4312048"/>
                <a:gd name="connsiteY153" fmla="*/ 778733 h 2856019"/>
                <a:gd name="connsiteX154" fmla="*/ 688542 w 4312048"/>
                <a:gd name="connsiteY154" fmla="*/ 696348 h 2856019"/>
                <a:gd name="connsiteX155" fmla="*/ 688542 w 4312048"/>
                <a:gd name="connsiteY155" fmla="*/ 613964 h 2856019"/>
                <a:gd name="connsiteX156" fmla="*/ 688544 w 4312048"/>
                <a:gd name="connsiteY156" fmla="*/ 1641821 h 2856019"/>
                <a:gd name="connsiteX157" fmla="*/ 748864 w 4312048"/>
                <a:gd name="connsiteY157" fmla="*/ 1641821 h 2856019"/>
                <a:gd name="connsiteX158" fmla="*/ 809184 w 4312048"/>
                <a:gd name="connsiteY158" fmla="*/ 1641821 h 2856019"/>
                <a:gd name="connsiteX159" fmla="*/ 869504 w 4312048"/>
                <a:gd name="connsiteY159" fmla="*/ 1641821 h 2856019"/>
                <a:gd name="connsiteX160" fmla="*/ 929825 w 4312048"/>
                <a:gd name="connsiteY160" fmla="*/ 1641821 h 2856019"/>
                <a:gd name="connsiteX161" fmla="*/ 990145 w 4312048"/>
                <a:gd name="connsiteY161" fmla="*/ 1641821 h 2856019"/>
                <a:gd name="connsiteX162" fmla="*/ 1050465 w 4312048"/>
                <a:gd name="connsiteY162" fmla="*/ 1641821 h 2856019"/>
                <a:gd name="connsiteX163" fmla="*/ 1110785 w 4312048"/>
                <a:gd name="connsiteY163" fmla="*/ 1641821 h 2856019"/>
                <a:gd name="connsiteX164" fmla="*/ 1171105 w 4312048"/>
                <a:gd name="connsiteY164" fmla="*/ 1641821 h 2856019"/>
                <a:gd name="connsiteX165" fmla="*/ 1254322 w 4312048"/>
                <a:gd name="connsiteY165" fmla="*/ 1647859 h 2856019"/>
                <a:gd name="connsiteX166" fmla="*/ 1326443 w 4312048"/>
                <a:gd name="connsiteY166" fmla="*/ 1664992 h 2856019"/>
                <a:gd name="connsiteX167" fmla="*/ 1387469 w 4312048"/>
                <a:gd name="connsiteY167" fmla="*/ 1693221 h 2856019"/>
                <a:gd name="connsiteX168" fmla="*/ 1437398 w 4312048"/>
                <a:gd name="connsiteY168" fmla="*/ 1732546 h 2856019"/>
                <a:gd name="connsiteX169" fmla="*/ 1476232 w 4312048"/>
                <a:gd name="connsiteY169" fmla="*/ 1782965 h 2856019"/>
                <a:gd name="connsiteX170" fmla="*/ 1503971 w 4312048"/>
                <a:gd name="connsiteY170" fmla="*/ 1844479 h 2856019"/>
                <a:gd name="connsiteX171" fmla="*/ 1520614 w 4312048"/>
                <a:gd name="connsiteY171" fmla="*/ 1917088 h 2856019"/>
                <a:gd name="connsiteX172" fmla="*/ 1526162 w 4312048"/>
                <a:gd name="connsiteY172" fmla="*/ 2000792 h 2856019"/>
                <a:gd name="connsiteX173" fmla="*/ 1524601 w 4312048"/>
                <a:gd name="connsiteY173" fmla="*/ 2038459 h 2856019"/>
                <a:gd name="connsiteX174" fmla="*/ 1519913 w 4312048"/>
                <a:gd name="connsiteY174" fmla="*/ 2073980 h 2856019"/>
                <a:gd name="connsiteX175" fmla="*/ 1512099 w 4312048"/>
                <a:gd name="connsiteY175" fmla="*/ 2107356 h 2856019"/>
                <a:gd name="connsiteX176" fmla="*/ 1501160 w 4312048"/>
                <a:gd name="connsiteY176" fmla="*/ 2138586 h 2856019"/>
                <a:gd name="connsiteX177" fmla="*/ 1487093 w 4312048"/>
                <a:gd name="connsiteY177" fmla="*/ 2167669 h 2856019"/>
                <a:gd name="connsiteX178" fmla="*/ 1469901 w 4312048"/>
                <a:gd name="connsiteY178" fmla="*/ 2194608 h 2856019"/>
                <a:gd name="connsiteX179" fmla="*/ 1449581 w 4312048"/>
                <a:gd name="connsiteY179" fmla="*/ 2219402 h 2856019"/>
                <a:gd name="connsiteX180" fmla="*/ 1426134 w 4312048"/>
                <a:gd name="connsiteY180" fmla="*/ 2242052 h 2856019"/>
                <a:gd name="connsiteX181" fmla="*/ 1399773 w 4312048"/>
                <a:gd name="connsiteY181" fmla="*/ 2261820 h 2856019"/>
                <a:gd name="connsiteX182" fmla="*/ 1370714 w 4312048"/>
                <a:gd name="connsiteY182" fmla="*/ 2278954 h 2856019"/>
                <a:gd name="connsiteX183" fmla="*/ 1338958 w 4312048"/>
                <a:gd name="connsiteY183" fmla="*/ 2293450 h 2856019"/>
                <a:gd name="connsiteX184" fmla="*/ 1304503 w 4312048"/>
                <a:gd name="connsiteY184" fmla="*/ 2305312 h 2856019"/>
                <a:gd name="connsiteX185" fmla="*/ 1267351 w 4312048"/>
                <a:gd name="connsiteY185" fmla="*/ 2314537 h 2856019"/>
                <a:gd name="connsiteX186" fmla="*/ 1227502 w 4312048"/>
                <a:gd name="connsiteY186" fmla="*/ 2321127 h 2856019"/>
                <a:gd name="connsiteX187" fmla="*/ 1184957 w 4312048"/>
                <a:gd name="connsiteY187" fmla="*/ 2325080 h 2856019"/>
                <a:gd name="connsiteX188" fmla="*/ 1139716 w 4312048"/>
                <a:gd name="connsiteY188" fmla="*/ 2326399 h 2856019"/>
                <a:gd name="connsiteX189" fmla="*/ 1083319 w 4312048"/>
                <a:gd name="connsiteY189" fmla="*/ 2326399 h 2856019"/>
                <a:gd name="connsiteX190" fmla="*/ 1026923 w 4312048"/>
                <a:gd name="connsiteY190" fmla="*/ 2326399 h 2856019"/>
                <a:gd name="connsiteX191" fmla="*/ 970527 w 4312048"/>
                <a:gd name="connsiteY191" fmla="*/ 2326399 h 2856019"/>
                <a:gd name="connsiteX192" fmla="*/ 914130 w 4312048"/>
                <a:gd name="connsiteY192" fmla="*/ 2326399 h 2856019"/>
                <a:gd name="connsiteX193" fmla="*/ 857734 w 4312048"/>
                <a:gd name="connsiteY193" fmla="*/ 2326399 h 2856019"/>
                <a:gd name="connsiteX194" fmla="*/ 801338 w 4312048"/>
                <a:gd name="connsiteY194" fmla="*/ 2326399 h 2856019"/>
                <a:gd name="connsiteX195" fmla="*/ 744942 w 4312048"/>
                <a:gd name="connsiteY195" fmla="*/ 2326399 h 2856019"/>
                <a:gd name="connsiteX196" fmla="*/ 688545 w 4312048"/>
                <a:gd name="connsiteY196" fmla="*/ 2326399 h 2856019"/>
                <a:gd name="connsiteX197" fmla="*/ 688545 w 4312048"/>
                <a:gd name="connsiteY197" fmla="*/ 2240827 h 2856019"/>
                <a:gd name="connsiteX198" fmla="*/ 688545 w 4312048"/>
                <a:gd name="connsiteY198" fmla="*/ 2155255 h 2856019"/>
                <a:gd name="connsiteX199" fmla="*/ 688545 w 4312048"/>
                <a:gd name="connsiteY199" fmla="*/ 2069683 h 2856019"/>
                <a:gd name="connsiteX200" fmla="*/ 688545 w 4312048"/>
                <a:gd name="connsiteY200" fmla="*/ 1984111 h 2856019"/>
                <a:gd name="connsiteX201" fmla="*/ 688545 w 4312048"/>
                <a:gd name="connsiteY201" fmla="*/ 1898539 h 2856019"/>
                <a:gd name="connsiteX202" fmla="*/ 688545 w 4312048"/>
                <a:gd name="connsiteY202" fmla="*/ 1812967 h 2856019"/>
                <a:gd name="connsiteX203" fmla="*/ 688545 w 4312048"/>
                <a:gd name="connsiteY203" fmla="*/ 1727394 h 2856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</a:cxnLst>
              <a:rect l="l" t="t" r="r" b="b"/>
              <a:pathLst>
                <a:path w="4312048" h="2856019">
                  <a:moveTo>
                    <a:pt x="0" y="1"/>
                  </a:moveTo>
                  <a:lnTo>
                    <a:pt x="0" y="357003"/>
                  </a:lnTo>
                  <a:lnTo>
                    <a:pt x="0" y="714005"/>
                  </a:lnTo>
                  <a:lnTo>
                    <a:pt x="0" y="1071008"/>
                  </a:lnTo>
                  <a:lnTo>
                    <a:pt x="0" y="1428010"/>
                  </a:lnTo>
                  <a:lnTo>
                    <a:pt x="0" y="1785012"/>
                  </a:lnTo>
                  <a:lnTo>
                    <a:pt x="0" y="2142015"/>
                  </a:lnTo>
                  <a:lnTo>
                    <a:pt x="0" y="2499017"/>
                  </a:lnTo>
                  <a:lnTo>
                    <a:pt x="0" y="2856019"/>
                  </a:lnTo>
                  <a:lnTo>
                    <a:pt x="144918" y="2856019"/>
                  </a:lnTo>
                  <a:lnTo>
                    <a:pt x="289835" y="2856019"/>
                  </a:lnTo>
                  <a:lnTo>
                    <a:pt x="434753" y="2856019"/>
                  </a:lnTo>
                  <a:lnTo>
                    <a:pt x="579671" y="2856019"/>
                  </a:lnTo>
                  <a:lnTo>
                    <a:pt x="724589" y="2856019"/>
                  </a:lnTo>
                  <a:lnTo>
                    <a:pt x="869506" y="2856019"/>
                  </a:lnTo>
                  <a:lnTo>
                    <a:pt x="1014424" y="2856019"/>
                  </a:lnTo>
                  <a:lnTo>
                    <a:pt x="1159342" y="2856019"/>
                  </a:lnTo>
                  <a:cubicBezTo>
                    <a:pt x="1202826" y="2855693"/>
                    <a:pt x="1244970" y="2854292"/>
                    <a:pt x="1285776" y="2851820"/>
                  </a:cubicBezTo>
                  <a:cubicBezTo>
                    <a:pt x="1326583" y="2849348"/>
                    <a:pt x="1366050" y="2845803"/>
                    <a:pt x="1404180" y="2841186"/>
                  </a:cubicBezTo>
                  <a:cubicBezTo>
                    <a:pt x="1442309" y="2836568"/>
                    <a:pt x="1479100" y="2830878"/>
                    <a:pt x="1514552" y="2824115"/>
                  </a:cubicBezTo>
                  <a:cubicBezTo>
                    <a:pt x="1550004" y="2817352"/>
                    <a:pt x="1584119" y="2809517"/>
                    <a:pt x="1616894" y="2800609"/>
                  </a:cubicBezTo>
                  <a:cubicBezTo>
                    <a:pt x="1649669" y="2791700"/>
                    <a:pt x="1681106" y="2781719"/>
                    <a:pt x="1711205" y="2770666"/>
                  </a:cubicBezTo>
                  <a:cubicBezTo>
                    <a:pt x="1741304" y="2759612"/>
                    <a:pt x="1770064" y="2747486"/>
                    <a:pt x="1797486" y="2734286"/>
                  </a:cubicBezTo>
                  <a:cubicBezTo>
                    <a:pt x="1824908" y="2721087"/>
                    <a:pt x="1850992" y="2706815"/>
                    <a:pt x="1875737" y="2691470"/>
                  </a:cubicBezTo>
                  <a:cubicBezTo>
                    <a:pt x="1900482" y="2676125"/>
                    <a:pt x="1923889" y="2659707"/>
                    <a:pt x="1945958" y="2642217"/>
                  </a:cubicBezTo>
                  <a:cubicBezTo>
                    <a:pt x="1968190" y="2624562"/>
                    <a:pt x="1989033" y="2605826"/>
                    <a:pt x="2008486" y="2586006"/>
                  </a:cubicBezTo>
                  <a:cubicBezTo>
                    <a:pt x="2027939" y="2566187"/>
                    <a:pt x="2046003" y="2545283"/>
                    <a:pt x="2062677" y="2523298"/>
                  </a:cubicBezTo>
                  <a:cubicBezTo>
                    <a:pt x="2079351" y="2501312"/>
                    <a:pt x="2094636" y="2478243"/>
                    <a:pt x="2108532" y="2454092"/>
                  </a:cubicBezTo>
                  <a:cubicBezTo>
                    <a:pt x="2122427" y="2429940"/>
                    <a:pt x="2134933" y="2404706"/>
                    <a:pt x="2146049" y="2378388"/>
                  </a:cubicBezTo>
                  <a:cubicBezTo>
                    <a:pt x="2157165" y="2352070"/>
                    <a:pt x="2166892" y="2324670"/>
                    <a:pt x="2175230" y="2296187"/>
                  </a:cubicBezTo>
                  <a:cubicBezTo>
                    <a:pt x="2183567" y="2267703"/>
                    <a:pt x="2190515" y="2238137"/>
                    <a:pt x="2196073" y="2207488"/>
                  </a:cubicBezTo>
                  <a:cubicBezTo>
                    <a:pt x="2201631" y="2176838"/>
                    <a:pt x="2205800" y="2145106"/>
                    <a:pt x="2208579" y="2112291"/>
                  </a:cubicBezTo>
                  <a:cubicBezTo>
                    <a:pt x="2211359" y="2079476"/>
                    <a:pt x="2212748" y="2045578"/>
                    <a:pt x="2212748" y="2010596"/>
                  </a:cubicBezTo>
                  <a:cubicBezTo>
                    <a:pt x="2212748" y="1991308"/>
                    <a:pt x="2212124" y="1972387"/>
                    <a:pt x="2210880" y="1953833"/>
                  </a:cubicBezTo>
                  <a:cubicBezTo>
                    <a:pt x="2209633" y="1935280"/>
                    <a:pt x="2207764" y="1917095"/>
                    <a:pt x="2205271" y="1899277"/>
                  </a:cubicBezTo>
                  <a:cubicBezTo>
                    <a:pt x="2202779" y="1881459"/>
                    <a:pt x="2199662" y="1864009"/>
                    <a:pt x="2195923" y="1846927"/>
                  </a:cubicBezTo>
                  <a:cubicBezTo>
                    <a:pt x="2192184" y="1829845"/>
                    <a:pt x="2187822" y="1813130"/>
                    <a:pt x="2182836" y="1796783"/>
                  </a:cubicBezTo>
                  <a:cubicBezTo>
                    <a:pt x="2177850" y="1780437"/>
                    <a:pt x="2172241" y="1764458"/>
                    <a:pt x="2166009" y="1748847"/>
                  </a:cubicBezTo>
                  <a:cubicBezTo>
                    <a:pt x="2159777" y="1733236"/>
                    <a:pt x="2152922" y="1717992"/>
                    <a:pt x="2145443" y="1703117"/>
                  </a:cubicBezTo>
                  <a:cubicBezTo>
                    <a:pt x="2137965" y="1688242"/>
                    <a:pt x="2129863" y="1673734"/>
                    <a:pt x="2121138" y="1659594"/>
                  </a:cubicBezTo>
                  <a:cubicBezTo>
                    <a:pt x="2112412" y="1645455"/>
                    <a:pt x="2103064" y="1631683"/>
                    <a:pt x="2093092" y="1618279"/>
                  </a:cubicBezTo>
                  <a:cubicBezTo>
                    <a:pt x="2083120" y="1604875"/>
                    <a:pt x="2072607" y="1592002"/>
                    <a:pt x="2061552" y="1579661"/>
                  </a:cubicBezTo>
                  <a:cubicBezTo>
                    <a:pt x="2050498" y="1567320"/>
                    <a:pt x="2038901" y="1555510"/>
                    <a:pt x="2026763" y="1544231"/>
                  </a:cubicBezTo>
                  <a:cubicBezTo>
                    <a:pt x="2014626" y="1532952"/>
                    <a:pt x="2001946" y="1522204"/>
                    <a:pt x="1988725" y="1511988"/>
                  </a:cubicBezTo>
                  <a:cubicBezTo>
                    <a:pt x="1975504" y="1501772"/>
                    <a:pt x="1961741" y="1492087"/>
                    <a:pt x="1947437" y="1482933"/>
                  </a:cubicBezTo>
                  <a:cubicBezTo>
                    <a:pt x="1933133" y="1473779"/>
                    <a:pt x="1918288" y="1465156"/>
                    <a:pt x="1902901" y="1457065"/>
                  </a:cubicBezTo>
                  <a:cubicBezTo>
                    <a:pt x="1887514" y="1448974"/>
                    <a:pt x="1871586" y="1441414"/>
                    <a:pt x="1855116" y="1434385"/>
                  </a:cubicBezTo>
                  <a:cubicBezTo>
                    <a:pt x="1838646" y="1427356"/>
                    <a:pt x="1821634" y="1420858"/>
                    <a:pt x="1804082" y="1414892"/>
                  </a:cubicBezTo>
                  <a:cubicBezTo>
                    <a:pt x="1786529" y="1408926"/>
                    <a:pt x="1768434" y="1403490"/>
                    <a:pt x="1749799" y="1398586"/>
                  </a:cubicBezTo>
                  <a:cubicBezTo>
                    <a:pt x="1766310" y="1392375"/>
                    <a:pt x="1782319" y="1385734"/>
                    <a:pt x="1797829" y="1378665"/>
                  </a:cubicBezTo>
                  <a:cubicBezTo>
                    <a:pt x="1813339" y="1371595"/>
                    <a:pt x="1828347" y="1364097"/>
                    <a:pt x="1842856" y="1356169"/>
                  </a:cubicBezTo>
                  <a:cubicBezTo>
                    <a:pt x="1857364" y="1348242"/>
                    <a:pt x="1871372" y="1339885"/>
                    <a:pt x="1884879" y="1331100"/>
                  </a:cubicBezTo>
                  <a:cubicBezTo>
                    <a:pt x="1898386" y="1322314"/>
                    <a:pt x="1911393" y="1313099"/>
                    <a:pt x="1923899" y="1303455"/>
                  </a:cubicBezTo>
                  <a:cubicBezTo>
                    <a:pt x="1936405" y="1293812"/>
                    <a:pt x="1948410" y="1283739"/>
                    <a:pt x="1959915" y="1273237"/>
                  </a:cubicBezTo>
                  <a:cubicBezTo>
                    <a:pt x="1971419" y="1262735"/>
                    <a:pt x="1982423" y="1251803"/>
                    <a:pt x="1992927" y="1240443"/>
                  </a:cubicBezTo>
                  <a:cubicBezTo>
                    <a:pt x="2003430" y="1229083"/>
                    <a:pt x="2013432" y="1217294"/>
                    <a:pt x="2022934" y="1205075"/>
                  </a:cubicBezTo>
                  <a:cubicBezTo>
                    <a:pt x="2032436" y="1192856"/>
                    <a:pt x="2041437" y="1180209"/>
                    <a:pt x="2049938" y="1167132"/>
                  </a:cubicBezTo>
                  <a:cubicBezTo>
                    <a:pt x="2058439" y="1154055"/>
                    <a:pt x="2066408" y="1140641"/>
                    <a:pt x="2073845" y="1126889"/>
                  </a:cubicBezTo>
                  <a:cubicBezTo>
                    <a:pt x="2081283" y="1113138"/>
                    <a:pt x="2088190" y="1099050"/>
                    <a:pt x="2094565" y="1084624"/>
                  </a:cubicBezTo>
                  <a:cubicBezTo>
                    <a:pt x="2100940" y="1070198"/>
                    <a:pt x="2106785" y="1055436"/>
                    <a:pt x="2112097" y="1040335"/>
                  </a:cubicBezTo>
                  <a:cubicBezTo>
                    <a:pt x="2117410" y="1025235"/>
                    <a:pt x="2122191" y="1009798"/>
                    <a:pt x="2126441" y="994024"/>
                  </a:cubicBezTo>
                  <a:cubicBezTo>
                    <a:pt x="2130691" y="978250"/>
                    <a:pt x="2134410" y="962138"/>
                    <a:pt x="2137598" y="945690"/>
                  </a:cubicBezTo>
                  <a:cubicBezTo>
                    <a:pt x="2140785" y="929242"/>
                    <a:pt x="2143442" y="912456"/>
                    <a:pt x="2145567" y="895333"/>
                  </a:cubicBezTo>
                  <a:cubicBezTo>
                    <a:pt x="2147693" y="878211"/>
                    <a:pt x="2149286" y="860750"/>
                    <a:pt x="2150348" y="842954"/>
                  </a:cubicBezTo>
                  <a:cubicBezTo>
                    <a:pt x="2151410" y="825156"/>
                    <a:pt x="2151942" y="807022"/>
                    <a:pt x="2151942" y="788551"/>
                  </a:cubicBezTo>
                  <a:cubicBezTo>
                    <a:pt x="2151942" y="756512"/>
                    <a:pt x="2150440" y="725424"/>
                    <a:pt x="2147436" y="695285"/>
                  </a:cubicBezTo>
                  <a:cubicBezTo>
                    <a:pt x="2144431" y="665147"/>
                    <a:pt x="2139926" y="635958"/>
                    <a:pt x="2133917" y="607720"/>
                  </a:cubicBezTo>
                  <a:cubicBezTo>
                    <a:pt x="2127909" y="579481"/>
                    <a:pt x="2120399" y="552193"/>
                    <a:pt x="2111387" y="525855"/>
                  </a:cubicBezTo>
                  <a:cubicBezTo>
                    <a:pt x="2102375" y="499516"/>
                    <a:pt x="2091861" y="474128"/>
                    <a:pt x="2079845" y="449690"/>
                  </a:cubicBezTo>
                  <a:cubicBezTo>
                    <a:pt x="2067829" y="425252"/>
                    <a:pt x="2054311" y="401764"/>
                    <a:pt x="2039291" y="379226"/>
                  </a:cubicBezTo>
                  <a:cubicBezTo>
                    <a:pt x="2024272" y="356688"/>
                    <a:pt x="2007750" y="335101"/>
                    <a:pt x="1989727" y="314463"/>
                  </a:cubicBezTo>
                  <a:cubicBezTo>
                    <a:pt x="1971704" y="293826"/>
                    <a:pt x="1952179" y="274139"/>
                    <a:pt x="1931152" y="255402"/>
                  </a:cubicBezTo>
                  <a:cubicBezTo>
                    <a:pt x="1910125" y="236665"/>
                    <a:pt x="1887596" y="218878"/>
                    <a:pt x="1863566" y="202041"/>
                  </a:cubicBezTo>
                  <a:cubicBezTo>
                    <a:pt x="1839698" y="185205"/>
                    <a:pt x="1814452" y="169420"/>
                    <a:pt x="1787827" y="154688"/>
                  </a:cubicBezTo>
                  <a:cubicBezTo>
                    <a:pt x="1761202" y="139956"/>
                    <a:pt x="1733197" y="126276"/>
                    <a:pt x="1703814" y="113648"/>
                  </a:cubicBezTo>
                  <a:cubicBezTo>
                    <a:pt x="1674430" y="101021"/>
                    <a:pt x="1643667" y="89446"/>
                    <a:pt x="1611525" y="78923"/>
                  </a:cubicBezTo>
                  <a:cubicBezTo>
                    <a:pt x="1579383" y="68400"/>
                    <a:pt x="1545862" y="58929"/>
                    <a:pt x="1510962" y="50511"/>
                  </a:cubicBezTo>
                  <a:cubicBezTo>
                    <a:pt x="1476061" y="42093"/>
                    <a:pt x="1439781" y="34727"/>
                    <a:pt x="1402122" y="28413"/>
                  </a:cubicBezTo>
                  <a:cubicBezTo>
                    <a:pt x="1364463" y="22099"/>
                    <a:pt x="1325424" y="16838"/>
                    <a:pt x="1285006" y="12628"/>
                  </a:cubicBezTo>
                  <a:cubicBezTo>
                    <a:pt x="1244589" y="8419"/>
                    <a:pt x="1202792" y="5262"/>
                    <a:pt x="1159615" y="3158"/>
                  </a:cubicBezTo>
                  <a:cubicBezTo>
                    <a:pt x="1116438" y="1055"/>
                    <a:pt x="1071882" y="0"/>
                    <a:pt x="1025947" y="0"/>
                  </a:cubicBezTo>
                  <a:lnTo>
                    <a:pt x="897704" y="0"/>
                  </a:lnTo>
                  <a:lnTo>
                    <a:pt x="769460" y="0"/>
                  </a:lnTo>
                  <a:lnTo>
                    <a:pt x="641217" y="0"/>
                  </a:lnTo>
                  <a:lnTo>
                    <a:pt x="512974" y="0"/>
                  </a:lnTo>
                  <a:lnTo>
                    <a:pt x="384730" y="0"/>
                  </a:lnTo>
                  <a:lnTo>
                    <a:pt x="256487" y="0"/>
                  </a:lnTo>
                  <a:lnTo>
                    <a:pt x="128243" y="0"/>
                  </a:lnTo>
                  <a:close/>
                  <a:moveTo>
                    <a:pt x="2340591" y="1"/>
                  </a:moveTo>
                  <a:lnTo>
                    <a:pt x="2340591" y="2856019"/>
                  </a:lnTo>
                  <a:lnTo>
                    <a:pt x="4308117" y="2856019"/>
                  </a:lnTo>
                  <a:lnTo>
                    <a:pt x="4308117" y="2326398"/>
                  </a:lnTo>
                  <a:lnTo>
                    <a:pt x="3029117" y="2326398"/>
                  </a:lnTo>
                  <a:lnTo>
                    <a:pt x="3029117" y="1645736"/>
                  </a:lnTo>
                  <a:lnTo>
                    <a:pt x="4111956" y="1645736"/>
                  </a:lnTo>
                  <a:lnTo>
                    <a:pt x="4111956" y="1133785"/>
                  </a:lnTo>
                  <a:lnTo>
                    <a:pt x="3029117" y="1133785"/>
                  </a:lnTo>
                  <a:lnTo>
                    <a:pt x="3029117" y="531580"/>
                  </a:lnTo>
                  <a:lnTo>
                    <a:pt x="4312049" y="531580"/>
                  </a:lnTo>
                  <a:lnTo>
                    <a:pt x="4312049" y="1"/>
                  </a:lnTo>
                  <a:close/>
                  <a:moveTo>
                    <a:pt x="688544" y="531580"/>
                  </a:moveTo>
                  <a:lnTo>
                    <a:pt x="730719" y="531580"/>
                  </a:lnTo>
                  <a:lnTo>
                    <a:pt x="772894" y="531580"/>
                  </a:lnTo>
                  <a:lnTo>
                    <a:pt x="815070" y="531580"/>
                  </a:lnTo>
                  <a:lnTo>
                    <a:pt x="857245" y="531580"/>
                  </a:lnTo>
                  <a:lnTo>
                    <a:pt x="899421" y="531580"/>
                  </a:lnTo>
                  <a:lnTo>
                    <a:pt x="941596" y="531580"/>
                  </a:lnTo>
                  <a:lnTo>
                    <a:pt x="983772" y="531580"/>
                  </a:lnTo>
                  <a:lnTo>
                    <a:pt x="1025947" y="531580"/>
                  </a:lnTo>
                  <a:cubicBezTo>
                    <a:pt x="1045237" y="531580"/>
                    <a:pt x="1063862" y="531998"/>
                    <a:pt x="1081824" y="532837"/>
                  </a:cubicBezTo>
                  <a:cubicBezTo>
                    <a:pt x="1099785" y="533676"/>
                    <a:pt x="1117082" y="534933"/>
                    <a:pt x="1133716" y="536607"/>
                  </a:cubicBezTo>
                  <a:cubicBezTo>
                    <a:pt x="1150349" y="538283"/>
                    <a:pt x="1166318" y="540378"/>
                    <a:pt x="1181623" y="542892"/>
                  </a:cubicBezTo>
                  <a:cubicBezTo>
                    <a:pt x="1196929" y="545407"/>
                    <a:pt x="1211570" y="548338"/>
                    <a:pt x="1225547" y="551690"/>
                  </a:cubicBezTo>
                  <a:cubicBezTo>
                    <a:pt x="1239524" y="555041"/>
                    <a:pt x="1252836" y="558811"/>
                    <a:pt x="1265485" y="563001"/>
                  </a:cubicBezTo>
                  <a:cubicBezTo>
                    <a:pt x="1278134" y="567190"/>
                    <a:pt x="1290119" y="571798"/>
                    <a:pt x="1301439" y="576825"/>
                  </a:cubicBezTo>
                  <a:cubicBezTo>
                    <a:pt x="1312760" y="581852"/>
                    <a:pt x="1323416" y="587297"/>
                    <a:pt x="1333408" y="593161"/>
                  </a:cubicBezTo>
                  <a:cubicBezTo>
                    <a:pt x="1343401" y="599026"/>
                    <a:pt x="1352728" y="605309"/>
                    <a:pt x="1361392" y="612011"/>
                  </a:cubicBezTo>
                  <a:cubicBezTo>
                    <a:pt x="1370056" y="618550"/>
                    <a:pt x="1378179" y="625619"/>
                    <a:pt x="1385760" y="633220"/>
                  </a:cubicBezTo>
                  <a:cubicBezTo>
                    <a:pt x="1393340" y="640821"/>
                    <a:pt x="1400379" y="648953"/>
                    <a:pt x="1406877" y="657615"/>
                  </a:cubicBezTo>
                  <a:cubicBezTo>
                    <a:pt x="1413375" y="666278"/>
                    <a:pt x="1419331" y="675473"/>
                    <a:pt x="1424746" y="685198"/>
                  </a:cubicBezTo>
                  <a:cubicBezTo>
                    <a:pt x="1430160" y="694923"/>
                    <a:pt x="1435033" y="705180"/>
                    <a:pt x="1439365" y="715967"/>
                  </a:cubicBezTo>
                  <a:cubicBezTo>
                    <a:pt x="1443697" y="726755"/>
                    <a:pt x="1447487" y="738074"/>
                    <a:pt x="1450736" y="749924"/>
                  </a:cubicBezTo>
                  <a:cubicBezTo>
                    <a:pt x="1453985" y="761775"/>
                    <a:pt x="1456691" y="774156"/>
                    <a:pt x="1458857" y="787069"/>
                  </a:cubicBezTo>
                  <a:cubicBezTo>
                    <a:pt x="1461022" y="799982"/>
                    <a:pt x="1462647" y="813426"/>
                    <a:pt x="1463730" y="827402"/>
                  </a:cubicBezTo>
                  <a:cubicBezTo>
                    <a:pt x="1464814" y="841378"/>
                    <a:pt x="1465353" y="855885"/>
                    <a:pt x="1465353" y="870924"/>
                  </a:cubicBezTo>
                  <a:cubicBezTo>
                    <a:pt x="1465353" y="884000"/>
                    <a:pt x="1464853" y="896679"/>
                    <a:pt x="1463851" y="908960"/>
                  </a:cubicBezTo>
                  <a:cubicBezTo>
                    <a:pt x="1462851" y="921240"/>
                    <a:pt x="1461349" y="933123"/>
                    <a:pt x="1459346" y="944606"/>
                  </a:cubicBezTo>
                  <a:cubicBezTo>
                    <a:pt x="1457344" y="956091"/>
                    <a:pt x="1454841" y="967176"/>
                    <a:pt x="1451837" y="977863"/>
                  </a:cubicBezTo>
                  <a:cubicBezTo>
                    <a:pt x="1448833" y="988550"/>
                    <a:pt x="1445330" y="998839"/>
                    <a:pt x="1441326" y="1008729"/>
                  </a:cubicBezTo>
                  <a:cubicBezTo>
                    <a:pt x="1437321" y="1018620"/>
                    <a:pt x="1432816" y="1028112"/>
                    <a:pt x="1427810" y="1037205"/>
                  </a:cubicBezTo>
                  <a:cubicBezTo>
                    <a:pt x="1422804" y="1046298"/>
                    <a:pt x="1417297" y="1054993"/>
                    <a:pt x="1411290" y="1063290"/>
                  </a:cubicBezTo>
                  <a:cubicBezTo>
                    <a:pt x="1405283" y="1071586"/>
                    <a:pt x="1398775" y="1079484"/>
                    <a:pt x="1391767" y="1086983"/>
                  </a:cubicBezTo>
                  <a:cubicBezTo>
                    <a:pt x="1384757" y="1094483"/>
                    <a:pt x="1377248" y="1101583"/>
                    <a:pt x="1369238" y="1108285"/>
                  </a:cubicBezTo>
                  <a:cubicBezTo>
                    <a:pt x="1361228" y="1114987"/>
                    <a:pt x="1352544" y="1121281"/>
                    <a:pt x="1343185" y="1127165"/>
                  </a:cubicBezTo>
                  <a:cubicBezTo>
                    <a:pt x="1333827" y="1133050"/>
                    <a:pt x="1323794" y="1138525"/>
                    <a:pt x="1313086" y="1143592"/>
                  </a:cubicBezTo>
                  <a:cubicBezTo>
                    <a:pt x="1302379" y="1148659"/>
                    <a:pt x="1290998" y="1153317"/>
                    <a:pt x="1278942" y="1157566"/>
                  </a:cubicBezTo>
                  <a:cubicBezTo>
                    <a:pt x="1266886" y="1161816"/>
                    <a:pt x="1254156" y="1165656"/>
                    <a:pt x="1240752" y="1169088"/>
                  </a:cubicBezTo>
                  <a:cubicBezTo>
                    <a:pt x="1227347" y="1172520"/>
                    <a:pt x="1213269" y="1175543"/>
                    <a:pt x="1198516" y="1178158"/>
                  </a:cubicBezTo>
                  <a:cubicBezTo>
                    <a:pt x="1183763" y="1180774"/>
                    <a:pt x="1168335" y="1182978"/>
                    <a:pt x="1152233" y="1184776"/>
                  </a:cubicBezTo>
                  <a:cubicBezTo>
                    <a:pt x="1136132" y="1186572"/>
                    <a:pt x="1119355" y="1187963"/>
                    <a:pt x="1101905" y="1188942"/>
                  </a:cubicBezTo>
                  <a:cubicBezTo>
                    <a:pt x="1084455" y="1189922"/>
                    <a:pt x="1066330" y="1190493"/>
                    <a:pt x="1047531" y="1190657"/>
                  </a:cubicBezTo>
                  <a:lnTo>
                    <a:pt x="1002657" y="1190657"/>
                  </a:lnTo>
                  <a:lnTo>
                    <a:pt x="957784" y="1190657"/>
                  </a:lnTo>
                  <a:lnTo>
                    <a:pt x="912910" y="1190657"/>
                  </a:lnTo>
                  <a:lnTo>
                    <a:pt x="868036" y="1190657"/>
                  </a:lnTo>
                  <a:lnTo>
                    <a:pt x="823163" y="1190657"/>
                  </a:lnTo>
                  <a:lnTo>
                    <a:pt x="778289" y="1190657"/>
                  </a:lnTo>
                  <a:lnTo>
                    <a:pt x="733416" y="1190657"/>
                  </a:lnTo>
                  <a:lnTo>
                    <a:pt x="688542" y="1190657"/>
                  </a:lnTo>
                  <a:lnTo>
                    <a:pt x="688542" y="1108272"/>
                  </a:lnTo>
                  <a:lnTo>
                    <a:pt x="688542" y="1025887"/>
                  </a:lnTo>
                  <a:lnTo>
                    <a:pt x="688542" y="943502"/>
                  </a:lnTo>
                  <a:lnTo>
                    <a:pt x="688542" y="861118"/>
                  </a:lnTo>
                  <a:lnTo>
                    <a:pt x="688542" y="778733"/>
                  </a:lnTo>
                  <a:lnTo>
                    <a:pt x="688542" y="696348"/>
                  </a:lnTo>
                  <a:lnTo>
                    <a:pt x="688542" y="613964"/>
                  </a:lnTo>
                  <a:close/>
                  <a:moveTo>
                    <a:pt x="688544" y="1641821"/>
                  </a:moveTo>
                  <a:lnTo>
                    <a:pt x="748864" y="1641821"/>
                  </a:lnTo>
                  <a:lnTo>
                    <a:pt x="809184" y="1641821"/>
                  </a:lnTo>
                  <a:lnTo>
                    <a:pt x="869504" y="1641821"/>
                  </a:lnTo>
                  <a:lnTo>
                    <a:pt x="929825" y="1641821"/>
                  </a:lnTo>
                  <a:lnTo>
                    <a:pt x="990145" y="1641821"/>
                  </a:lnTo>
                  <a:lnTo>
                    <a:pt x="1050465" y="1641821"/>
                  </a:lnTo>
                  <a:lnTo>
                    <a:pt x="1110785" y="1641821"/>
                  </a:lnTo>
                  <a:lnTo>
                    <a:pt x="1171105" y="1641821"/>
                  </a:lnTo>
                  <a:cubicBezTo>
                    <a:pt x="1200694" y="1641984"/>
                    <a:pt x="1228432" y="1643996"/>
                    <a:pt x="1254322" y="1647859"/>
                  </a:cubicBezTo>
                  <a:cubicBezTo>
                    <a:pt x="1280212" y="1651721"/>
                    <a:pt x="1304252" y="1657432"/>
                    <a:pt x="1326443" y="1664992"/>
                  </a:cubicBezTo>
                  <a:cubicBezTo>
                    <a:pt x="1348634" y="1672552"/>
                    <a:pt x="1368976" y="1681963"/>
                    <a:pt x="1387469" y="1693221"/>
                  </a:cubicBezTo>
                  <a:cubicBezTo>
                    <a:pt x="1405961" y="1704480"/>
                    <a:pt x="1422604" y="1717588"/>
                    <a:pt x="1437398" y="1732546"/>
                  </a:cubicBezTo>
                  <a:cubicBezTo>
                    <a:pt x="1452192" y="1747503"/>
                    <a:pt x="1465137" y="1764309"/>
                    <a:pt x="1476232" y="1782965"/>
                  </a:cubicBezTo>
                  <a:cubicBezTo>
                    <a:pt x="1487328" y="1801621"/>
                    <a:pt x="1496574" y="1822125"/>
                    <a:pt x="1503971" y="1844479"/>
                  </a:cubicBezTo>
                  <a:cubicBezTo>
                    <a:pt x="1511368" y="1866833"/>
                    <a:pt x="1516915" y="1891036"/>
                    <a:pt x="1520614" y="1917088"/>
                  </a:cubicBezTo>
                  <a:cubicBezTo>
                    <a:pt x="1524312" y="1943140"/>
                    <a:pt x="1526162" y="1971042"/>
                    <a:pt x="1526162" y="2000792"/>
                  </a:cubicBezTo>
                  <a:cubicBezTo>
                    <a:pt x="1526162" y="2013705"/>
                    <a:pt x="1525639" y="2026261"/>
                    <a:pt x="1524601" y="2038459"/>
                  </a:cubicBezTo>
                  <a:cubicBezTo>
                    <a:pt x="1523559" y="2050657"/>
                    <a:pt x="1521998" y="2062497"/>
                    <a:pt x="1519913" y="2073980"/>
                  </a:cubicBezTo>
                  <a:cubicBezTo>
                    <a:pt x="1517829" y="2085463"/>
                    <a:pt x="1515225" y="2096588"/>
                    <a:pt x="1512099" y="2107356"/>
                  </a:cubicBezTo>
                  <a:cubicBezTo>
                    <a:pt x="1508974" y="2118123"/>
                    <a:pt x="1505327" y="2128533"/>
                    <a:pt x="1501160" y="2138586"/>
                  </a:cubicBezTo>
                  <a:cubicBezTo>
                    <a:pt x="1496992" y="2148637"/>
                    <a:pt x="1492303" y="2158332"/>
                    <a:pt x="1487093" y="2167669"/>
                  </a:cubicBezTo>
                  <a:cubicBezTo>
                    <a:pt x="1481883" y="2177007"/>
                    <a:pt x="1476153" y="2185986"/>
                    <a:pt x="1469901" y="2194608"/>
                  </a:cubicBezTo>
                  <a:cubicBezTo>
                    <a:pt x="1463648" y="2203231"/>
                    <a:pt x="1456875" y="2211495"/>
                    <a:pt x="1449581" y="2219402"/>
                  </a:cubicBezTo>
                  <a:cubicBezTo>
                    <a:pt x="1442286" y="2227310"/>
                    <a:pt x="1434471" y="2234859"/>
                    <a:pt x="1426134" y="2242052"/>
                  </a:cubicBezTo>
                  <a:cubicBezTo>
                    <a:pt x="1417797" y="2249080"/>
                    <a:pt x="1409010" y="2255670"/>
                    <a:pt x="1399773" y="2261820"/>
                  </a:cubicBezTo>
                  <a:cubicBezTo>
                    <a:pt x="1390537" y="2267971"/>
                    <a:pt x="1380850" y="2273682"/>
                    <a:pt x="1370714" y="2278954"/>
                  </a:cubicBezTo>
                  <a:cubicBezTo>
                    <a:pt x="1360578" y="2284225"/>
                    <a:pt x="1349992" y="2289057"/>
                    <a:pt x="1338958" y="2293450"/>
                  </a:cubicBezTo>
                  <a:cubicBezTo>
                    <a:pt x="1327922" y="2297843"/>
                    <a:pt x="1316437" y="2301797"/>
                    <a:pt x="1304503" y="2305312"/>
                  </a:cubicBezTo>
                  <a:cubicBezTo>
                    <a:pt x="1292568" y="2308826"/>
                    <a:pt x="1280184" y="2311901"/>
                    <a:pt x="1267351" y="2314537"/>
                  </a:cubicBezTo>
                  <a:cubicBezTo>
                    <a:pt x="1254518" y="2317173"/>
                    <a:pt x="1241234" y="2319369"/>
                    <a:pt x="1227502" y="2321127"/>
                  </a:cubicBezTo>
                  <a:cubicBezTo>
                    <a:pt x="1213770" y="2322884"/>
                    <a:pt x="1199588" y="2324203"/>
                    <a:pt x="1184957" y="2325080"/>
                  </a:cubicBezTo>
                  <a:cubicBezTo>
                    <a:pt x="1170326" y="2325958"/>
                    <a:pt x="1155245" y="2326399"/>
                    <a:pt x="1139716" y="2326399"/>
                  </a:cubicBezTo>
                  <a:lnTo>
                    <a:pt x="1083319" y="2326399"/>
                  </a:lnTo>
                  <a:lnTo>
                    <a:pt x="1026923" y="2326399"/>
                  </a:lnTo>
                  <a:lnTo>
                    <a:pt x="970527" y="2326399"/>
                  </a:lnTo>
                  <a:lnTo>
                    <a:pt x="914130" y="2326399"/>
                  </a:lnTo>
                  <a:lnTo>
                    <a:pt x="857734" y="2326399"/>
                  </a:lnTo>
                  <a:lnTo>
                    <a:pt x="801338" y="2326399"/>
                  </a:lnTo>
                  <a:lnTo>
                    <a:pt x="744942" y="2326399"/>
                  </a:lnTo>
                  <a:lnTo>
                    <a:pt x="688545" y="2326399"/>
                  </a:lnTo>
                  <a:lnTo>
                    <a:pt x="688545" y="2240827"/>
                  </a:lnTo>
                  <a:lnTo>
                    <a:pt x="688545" y="2155255"/>
                  </a:lnTo>
                  <a:lnTo>
                    <a:pt x="688545" y="2069683"/>
                  </a:lnTo>
                  <a:lnTo>
                    <a:pt x="688545" y="1984111"/>
                  </a:lnTo>
                  <a:lnTo>
                    <a:pt x="688545" y="1898539"/>
                  </a:lnTo>
                  <a:lnTo>
                    <a:pt x="688545" y="1812967"/>
                  </a:lnTo>
                  <a:lnTo>
                    <a:pt x="688545" y="1727394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4"/>
                </a:gs>
                <a:gs pos="100000">
                  <a:schemeClr val="accent6"/>
                </a:gs>
              </a:gsLst>
              <a:lin ang="5400000" scaled="1"/>
              <a:tileRect/>
            </a:gradFill>
            <a:ln w="190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B3F9E8F2-17D1-4768-B433-BC3C3D302CF9}"/>
                </a:ext>
              </a:extLst>
            </p:cNvPr>
            <p:cNvSpPr/>
            <p:nvPr/>
          </p:nvSpPr>
          <p:spPr>
            <a:xfrm>
              <a:off x="1462704" y="5673080"/>
              <a:ext cx="1003403" cy="392516"/>
            </a:xfrm>
            <a:custGeom>
              <a:avLst/>
              <a:gdLst>
                <a:gd name="connsiteX0" fmla="*/ 304496 w 1003403"/>
                <a:gd name="connsiteY0" fmla="*/ 253490 h 392516"/>
                <a:gd name="connsiteX1" fmla="*/ 286317 w 1003403"/>
                <a:gd name="connsiteY1" fmla="*/ 273111 h 392516"/>
                <a:gd name="connsiteX2" fmla="*/ 279024 w 1003403"/>
                <a:gd name="connsiteY2" fmla="*/ 281887 h 392516"/>
                <a:gd name="connsiteX3" fmla="*/ 281526 w 1003403"/>
                <a:gd name="connsiteY3" fmla="*/ 282927 h 392516"/>
                <a:gd name="connsiteX4" fmla="*/ 284720 w 1003403"/>
                <a:gd name="connsiteY4" fmla="*/ 286519 h 392516"/>
                <a:gd name="connsiteX5" fmla="*/ 287116 w 1003403"/>
                <a:gd name="connsiteY5" fmla="*/ 291310 h 392516"/>
                <a:gd name="connsiteX6" fmla="*/ 287116 w 1003403"/>
                <a:gd name="connsiteY6" fmla="*/ 295701 h 392516"/>
                <a:gd name="connsiteX7" fmla="*/ 283922 w 1003403"/>
                <a:gd name="connsiteY7" fmla="*/ 298097 h 392516"/>
                <a:gd name="connsiteX8" fmla="*/ 269194 w 1003403"/>
                <a:gd name="connsiteY8" fmla="*/ 293745 h 392516"/>
                <a:gd name="connsiteX9" fmla="*/ 254864 w 1003403"/>
                <a:gd name="connsiteY9" fmla="*/ 315239 h 392516"/>
                <a:gd name="connsiteX10" fmla="*/ 243898 w 1003403"/>
                <a:gd name="connsiteY10" fmla="*/ 339477 h 392516"/>
                <a:gd name="connsiteX11" fmla="*/ 240436 w 1003403"/>
                <a:gd name="connsiteY11" fmla="*/ 355347 h 392516"/>
                <a:gd name="connsiteX12" fmla="*/ 241302 w 1003403"/>
                <a:gd name="connsiteY12" fmla="*/ 371217 h 392516"/>
                <a:gd name="connsiteX13" fmla="*/ 252844 w 1003403"/>
                <a:gd name="connsiteY13" fmla="*/ 361118 h 392516"/>
                <a:gd name="connsiteX14" fmla="*/ 263521 w 1003403"/>
                <a:gd name="connsiteY14" fmla="*/ 345248 h 392516"/>
                <a:gd name="connsiteX15" fmla="*/ 272755 w 1003403"/>
                <a:gd name="connsiteY15" fmla="*/ 328224 h 392516"/>
                <a:gd name="connsiteX16" fmla="*/ 279392 w 1003403"/>
                <a:gd name="connsiteY16" fmla="*/ 314951 h 392516"/>
                <a:gd name="connsiteX17" fmla="*/ 285451 w 1003403"/>
                <a:gd name="connsiteY17" fmla="*/ 301966 h 392516"/>
                <a:gd name="connsiteX18" fmla="*/ 293820 w 1003403"/>
                <a:gd name="connsiteY18" fmla="*/ 283499 h 392516"/>
                <a:gd name="connsiteX19" fmla="*/ 301322 w 1003403"/>
                <a:gd name="connsiteY19" fmla="*/ 265321 h 392516"/>
                <a:gd name="connsiteX20" fmla="*/ 304496 w 1003403"/>
                <a:gd name="connsiteY20" fmla="*/ 253490 h 392516"/>
                <a:gd name="connsiteX21" fmla="*/ 916531 w 1003403"/>
                <a:gd name="connsiteY21" fmla="*/ 250893 h 392516"/>
                <a:gd name="connsiteX22" fmla="*/ 900083 w 1003403"/>
                <a:gd name="connsiteY22" fmla="*/ 270225 h 392516"/>
                <a:gd name="connsiteX23" fmla="*/ 882481 w 1003403"/>
                <a:gd name="connsiteY23" fmla="*/ 294174 h 392516"/>
                <a:gd name="connsiteX24" fmla="*/ 866321 w 1003403"/>
                <a:gd name="connsiteY24" fmla="*/ 319855 h 392516"/>
                <a:gd name="connsiteX25" fmla="*/ 853625 w 1003403"/>
                <a:gd name="connsiteY25" fmla="*/ 344093 h 392516"/>
                <a:gd name="connsiteX26" fmla="*/ 846988 w 1003403"/>
                <a:gd name="connsiteY26" fmla="*/ 363714 h 392516"/>
                <a:gd name="connsiteX27" fmla="*/ 848719 w 1003403"/>
                <a:gd name="connsiteY27" fmla="*/ 375833 h 392516"/>
                <a:gd name="connsiteX28" fmla="*/ 857953 w 1003403"/>
                <a:gd name="connsiteY28" fmla="*/ 369485 h 392516"/>
                <a:gd name="connsiteX29" fmla="*/ 871516 w 1003403"/>
                <a:gd name="connsiteY29" fmla="*/ 349864 h 392516"/>
                <a:gd name="connsiteX30" fmla="*/ 886809 w 1003403"/>
                <a:gd name="connsiteY30" fmla="*/ 322452 h 392516"/>
                <a:gd name="connsiteX31" fmla="*/ 900949 w 1003403"/>
                <a:gd name="connsiteY31" fmla="*/ 293020 h 392516"/>
                <a:gd name="connsiteX32" fmla="*/ 911914 w 1003403"/>
                <a:gd name="connsiteY32" fmla="*/ 267340 h 392516"/>
                <a:gd name="connsiteX33" fmla="*/ 916531 w 1003403"/>
                <a:gd name="connsiteY33" fmla="*/ 250893 h 392516"/>
                <a:gd name="connsiteX34" fmla="*/ 584688 w 1003403"/>
                <a:gd name="connsiteY34" fmla="*/ 177599 h 392516"/>
                <a:gd name="connsiteX35" fmla="*/ 571414 w 1003403"/>
                <a:gd name="connsiteY35" fmla="*/ 184813 h 392516"/>
                <a:gd name="connsiteX36" fmla="*/ 561026 w 1003403"/>
                <a:gd name="connsiteY36" fmla="*/ 196355 h 392516"/>
                <a:gd name="connsiteX37" fmla="*/ 556986 w 1003403"/>
                <a:gd name="connsiteY37" fmla="*/ 207897 h 392516"/>
                <a:gd name="connsiteX38" fmla="*/ 556985 w 1003403"/>
                <a:gd name="connsiteY38" fmla="*/ 207899 h 392516"/>
                <a:gd name="connsiteX39" fmla="*/ 557563 w 1003403"/>
                <a:gd name="connsiteY39" fmla="*/ 208764 h 392516"/>
                <a:gd name="connsiteX40" fmla="*/ 577185 w 1003403"/>
                <a:gd name="connsiteY40" fmla="*/ 193471 h 392516"/>
                <a:gd name="connsiteX41" fmla="*/ 597962 w 1003403"/>
                <a:gd name="connsiteY41" fmla="*/ 178178 h 392516"/>
                <a:gd name="connsiteX42" fmla="*/ 584688 w 1003403"/>
                <a:gd name="connsiteY42" fmla="*/ 177599 h 392516"/>
                <a:gd name="connsiteX43" fmla="*/ 406358 w 1003403"/>
                <a:gd name="connsiteY43" fmla="*/ 164328 h 392516"/>
                <a:gd name="connsiteX44" fmla="*/ 393950 w 1003403"/>
                <a:gd name="connsiteY44" fmla="*/ 171831 h 392516"/>
                <a:gd name="connsiteX45" fmla="*/ 387601 w 1003403"/>
                <a:gd name="connsiteY45" fmla="*/ 185392 h 392516"/>
                <a:gd name="connsiteX46" fmla="*/ 398855 w 1003403"/>
                <a:gd name="connsiteY46" fmla="*/ 176159 h 392516"/>
                <a:gd name="connsiteX47" fmla="*/ 406358 w 1003403"/>
                <a:gd name="connsiteY47" fmla="*/ 164328 h 392516"/>
                <a:gd name="connsiteX48" fmla="*/ 212157 w 1003403"/>
                <a:gd name="connsiteY48" fmla="*/ 164328 h 392516"/>
                <a:gd name="connsiteX49" fmla="*/ 199749 w 1003403"/>
                <a:gd name="connsiteY49" fmla="*/ 171831 h 392516"/>
                <a:gd name="connsiteX50" fmla="*/ 193401 w 1003403"/>
                <a:gd name="connsiteY50" fmla="*/ 185392 h 392516"/>
                <a:gd name="connsiteX51" fmla="*/ 204655 w 1003403"/>
                <a:gd name="connsiteY51" fmla="*/ 176159 h 392516"/>
                <a:gd name="connsiteX52" fmla="*/ 212157 w 1003403"/>
                <a:gd name="connsiteY52" fmla="*/ 164328 h 392516"/>
                <a:gd name="connsiteX53" fmla="*/ 937885 w 1003403"/>
                <a:gd name="connsiteY53" fmla="*/ 158846 h 392516"/>
                <a:gd name="connsiteX54" fmla="*/ 942502 w 1003403"/>
                <a:gd name="connsiteY54" fmla="*/ 159999 h 392516"/>
                <a:gd name="connsiteX55" fmla="*/ 946831 w 1003403"/>
                <a:gd name="connsiteY55" fmla="*/ 163173 h 392516"/>
                <a:gd name="connsiteX56" fmla="*/ 949428 w 1003403"/>
                <a:gd name="connsiteY56" fmla="*/ 167213 h 392516"/>
                <a:gd name="connsiteX57" fmla="*/ 951159 w 1003403"/>
                <a:gd name="connsiteY57" fmla="*/ 189143 h 392516"/>
                <a:gd name="connsiteX58" fmla="*/ 947985 w 1003403"/>
                <a:gd name="connsiteY58" fmla="*/ 211072 h 392516"/>
                <a:gd name="connsiteX59" fmla="*/ 968761 w 1003403"/>
                <a:gd name="connsiteY59" fmla="*/ 196068 h 392516"/>
                <a:gd name="connsiteX60" fmla="*/ 990981 w 1003403"/>
                <a:gd name="connsiteY60" fmla="*/ 184237 h 392516"/>
                <a:gd name="connsiteX61" fmla="*/ 995309 w 1003403"/>
                <a:gd name="connsiteY61" fmla="*/ 183084 h 392516"/>
                <a:gd name="connsiteX62" fmla="*/ 1001080 w 1003403"/>
                <a:gd name="connsiteY62" fmla="*/ 182795 h 392516"/>
                <a:gd name="connsiteX63" fmla="*/ 1003389 w 1003403"/>
                <a:gd name="connsiteY63" fmla="*/ 184815 h 392516"/>
                <a:gd name="connsiteX64" fmla="*/ 998195 w 1003403"/>
                <a:gd name="connsiteY64" fmla="*/ 189720 h 392516"/>
                <a:gd name="connsiteX65" fmla="*/ 971358 w 1003403"/>
                <a:gd name="connsiteY65" fmla="*/ 208764 h 392516"/>
                <a:gd name="connsiteX66" fmla="*/ 945965 w 1003403"/>
                <a:gd name="connsiteY66" fmla="*/ 228963 h 392516"/>
                <a:gd name="connsiteX67" fmla="*/ 943368 w 1003403"/>
                <a:gd name="connsiteY67" fmla="*/ 233580 h 392516"/>
                <a:gd name="connsiteX68" fmla="*/ 935288 w 1003403"/>
                <a:gd name="connsiteY68" fmla="*/ 269359 h 392516"/>
                <a:gd name="connsiteX69" fmla="*/ 921149 w 1003403"/>
                <a:gd name="connsiteY69" fmla="*/ 308890 h 392516"/>
                <a:gd name="connsiteX70" fmla="*/ 902681 w 1003403"/>
                <a:gd name="connsiteY70" fmla="*/ 346690 h 392516"/>
                <a:gd name="connsiteX71" fmla="*/ 881327 w 1003403"/>
                <a:gd name="connsiteY71" fmla="*/ 377853 h 392516"/>
                <a:gd name="connsiteX72" fmla="*/ 866033 w 1003403"/>
                <a:gd name="connsiteY72" fmla="*/ 389395 h 392516"/>
                <a:gd name="connsiteX73" fmla="*/ 851317 w 1003403"/>
                <a:gd name="connsiteY73" fmla="*/ 391126 h 392516"/>
                <a:gd name="connsiteX74" fmla="*/ 840063 w 1003403"/>
                <a:gd name="connsiteY74" fmla="*/ 382470 h 392516"/>
                <a:gd name="connsiteX75" fmla="*/ 835157 w 1003403"/>
                <a:gd name="connsiteY75" fmla="*/ 364003 h 392516"/>
                <a:gd name="connsiteX76" fmla="*/ 847277 w 1003403"/>
                <a:gd name="connsiteY76" fmla="*/ 329088 h 392516"/>
                <a:gd name="connsiteX77" fmla="*/ 867476 w 1003403"/>
                <a:gd name="connsiteY77" fmla="*/ 295906 h 392516"/>
                <a:gd name="connsiteX78" fmla="*/ 893158 w 1003403"/>
                <a:gd name="connsiteY78" fmla="*/ 263300 h 392516"/>
                <a:gd name="connsiteX79" fmla="*/ 922880 w 1003403"/>
                <a:gd name="connsiteY79" fmla="*/ 230405 h 392516"/>
                <a:gd name="connsiteX80" fmla="*/ 926631 w 1003403"/>
                <a:gd name="connsiteY80" fmla="*/ 223769 h 392516"/>
                <a:gd name="connsiteX81" fmla="*/ 929517 w 1003403"/>
                <a:gd name="connsiteY81" fmla="*/ 212227 h 392516"/>
                <a:gd name="connsiteX82" fmla="*/ 930960 w 1003403"/>
                <a:gd name="connsiteY82" fmla="*/ 200974 h 392516"/>
                <a:gd name="connsiteX83" fmla="*/ 930960 w 1003403"/>
                <a:gd name="connsiteY83" fmla="*/ 194337 h 392516"/>
                <a:gd name="connsiteX84" fmla="*/ 924612 w 1003403"/>
                <a:gd name="connsiteY84" fmla="*/ 206745 h 392516"/>
                <a:gd name="connsiteX85" fmla="*/ 917397 w 1003403"/>
                <a:gd name="connsiteY85" fmla="*/ 220307 h 392516"/>
                <a:gd name="connsiteX86" fmla="*/ 909895 w 1003403"/>
                <a:gd name="connsiteY86" fmla="*/ 231560 h 392516"/>
                <a:gd name="connsiteX87" fmla="*/ 902681 w 1003403"/>
                <a:gd name="connsiteY87" fmla="*/ 236465 h 392516"/>
                <a:gd name="connsiteX88" fmla="*/ 902680 w 1003403"/>
                <a:gd name="connsiteY88" fmla="*/ 236465 h 392516"/>
                <a:gd name="connsiteX89" fmla="*/ 888541 w 1003403"/>
                <a:gd name="connsiteY89" fmla="*/ 234156 h 392516"/>
                <a:gd name="connsiteX90" fmla="*/ 880749 w 1003403"/>
                <a:gd name="connsiteY90" fmla="*/ 222902 h 392516"/>
                <a:gd name="connsiteX91" fmla="*/ 879595 w 1003403"/>
                <a:gd name="connsiteY91" fmla="*/ 208475 h 392516"/>
                <a:gd name="connsiteX92" fmla="*/ 880461 w 1003403"/>
                <a:gd name="connsiteY92" fmla="*/ 192316 h 392516"/>
                <a:gd name="connsiteX93" fmla="*/ 882769 w 1003403"/>
                <a:gd name="connsiteY93" fmla="*/ 176158 h 392516"/>
                <a:gd name="connsiteX94" fmla="*/ 886232 w 1003403"/>
                <a:gd name="connsiteY94" fmla="*/ 162308 h 392516"/>
                <a:gd name="connsiteX95" fmla="*/ 890561 w 1003403"/>
                <a:gd name="connsiteY95" fmla="*/ 159712 h 392516"/>
                <a:gd name="connsiteX96" fmla="*/ 896909 w 1003403"/>
                <a:gd name="connsiteY96" fmla="*/ 161154 h 392516"/>
                <a:gd name="connsiteX97" fmla="*/ 902680 w 1003403"/>
                <a:gd name="connsiteY97" fmla="*/ 164328 h 392516"/>
                <a:gd name="connsiteX98" fmla="*/ 905854 w 1003403"/>
                <a:gd name="connsiteY98" fmla="*/ 168368 h 392516"/>
                <a:gd name="connsiteX99" fmla="*/ 904123 w 1003403"/>
                <a:gd name="connsiteY99" fmla="*/ 180487 h 392516"/>
                <a:gd name="connsiteX100" fmla="*/ 898929 w 1003403"/>
                <a:gd name="connsiteY100" fmla="*/ 197511 h 392516"/>
                <a:gd name="connsiteX101" fmla="*/ 894312 w 1003403"/>
                <a:gd name="connsiteY101" fmla="*/ 214247 h 392516"/>
                <a:gd name="connsiteX102" fmla="*/ 894890 w 1003403"/>
                <a:gd name="connsiteY102" fmla="*/ 223769 h 392516"/>
                <a:gd name="connsiteX103" fmla="*/ 900084 w 1003403"/>
                <a:gd name="connsiteY103" fmla="*/ 222902 h 392516"/>
                <a:gd name="connsiteX104" fmla="*/ 907298 w 1003403"/>
                <a:gd name="connsiteY104" fmla="*/ 213957 h 392516"/>
                <a:gd name="connsiteX105" fmla="*/ 915089 w 1003403"/>
                <a:gd name="connsiteY105" fmla="*/ 200107 h 392516"/>
                <a:gd name="connsiteX106" fmla="*/ 922880 w 1003403"/>
                <a:gd name="connsiteY106" fmla="*/ 184237 h 392516"/>
                <a:gd name="connsiteX107" fmla="*/ 930094 w 1003403"/>
                <a:gd name="connsiteY107" fmla="*/ 169809 h 392516"/>
                <a:gd name="connsiteX108" fmla="*/ 935288 w 1003403"/>
                <a:gd name="connsiteY108" fmla="*/ 159710 h 392516"/>
                <a:gd name="connsiteX109" fmla="*/ 937885 w 1003403"/>
                <a:gd name="connsiteY109" fmla="*/ 158846 h 392516"/>
                <a:gd name="connsiteX110" fmla="*/ 686550 w 1003403"/>
                <a:gd name="connsiteY110" fmla="*/ 63914 h 392516"/>
                <a:gd name="connsiteX111" fmla="*/ 654231 w 1003403"/>
                <a:gd name="connsiteY111" fmla="*/ 121335 h 392516"/>
                <a:gd name="connsiteX112" fmla="*/ 629415 w 1003403"/>
                <a:gd name="connsiteY112" fmla="*/ 182219 h 392516"/>
                <a:gd name="connsiteX113" fmla="*/ 644997 w 1003403"/>
                <a:gd name="connsiteY113" fmla="*/ 154518 h 392516"/>
                <a:gd name="connsiteX114" fmla="*/ 662888 w 1003403"/>
                <a:gd name="connsiteY114" fmla="*/ 122778 h 392516"/>
                <a:gd name="connsiteX115" fmla="*/ 678181 w 1003403"/>
                <a:gd name="connsiteY115" fmla="*/ 91037 h 392516"/>
                <a:gd name="connsiteX116" fmla="*/ 686550 w 1003403"/>
                <a:gd name="connsiteY116" fmla="*/ 63914 h 392516"/>
                <a:gd name="connsiteX117" fmla="*/ 174747 w 1003403"/>
                <a:gd name="connsiteY117" fmla="*/ 57 h 392516"/>
                <a:gd name="connsiteX118" fmla="*/ 180907 w 1003403"/>
                <a:gd name="connsiteY118" fmla="*/ 15020 h 392516"/>
                <a:gd name="connsiteX119" fmla="*/ 188094 w 1003403"/>
                <a:gd name="connsiteY119" fmla="*/ 28595 h 392516"/>
                <a:gd name="connsiteX120" fmla="*/ 189292 w 1003403"/>
                <a:gd name="connsiteY120" fmla="*/ 43367 h 392516"/>
                <a:gd name="connsiteX121" fmla="*/ 187695 w 1003403"/>
                <a:gd name="connsiteY121" fmla="*/ 46163 h 392516"/>
                <a:gd name="connsiteX122" fmla="*/ 186098 w 1003403"/>
                <a:gd name="connsiteY122" fmla="*/ 48558 h 392516"/>
                <a:gd name="connsiteX123" fmla="*/ 158547 w 1003403"/>
                <a:gd name="connsiteY123" fmla="*/ 97668 h 392516"/>
                <a:gd name="connsiteX124" fmla="*/ 127462 w 1003403"/>
                <a:gd name="connsiteY124" fmla="*/ 149575 h 392516"/>
                <a:gd name="connsiteX125" fmla="*/ 99855 w 1003403"/>
                <a:gd name="connsiteY125" fmla="*/ 212712 h 392516"/>
                <a:gd name="connsiteX126" fmla="*/ 80288 w 1003403"/>
                <a:gd name="connsiteY126" fmla="*/ 269350 h 392516"/>
                <a:gd name="connsiteX127" fmla="*/ 79090 w 1003403"/>
                <a:gd name="connsiteY127" fmla="*/ 275739 h 392516"/>
                <a:gd name="connsiteX128" fmla="*/ 129400 w 1003403"/>
                <a:gd name="connsiteY128" fmla="*/ 266556 h 392516"/>
                <a:gd name="connsiteX129" fmla="*/ 183702 w 1003403"/>
                <a:gd name="connsiteY129" fmla="*/ 260567 h 392516"/>
                <a:gd name="connsiteX130" fmla="*/ 236407 w 1003403"/>
                <a:gd name="connsiteY130" fmla="*/ 264162 h 392516"/>
                <a:gd name="connsiteX131" fmla="*/ 266495 w 1003403"/>
                <a:gd name="connsiteY131" fmla="*/ 276676 h 392516"/>
                <a:gd name="connsiteX132" fmla="*/ 269292 w 1003403"/>
                <a:gd name="connsiteY132" fmla="*/ 272826 h 392516"/>
                <a:gd name="connsiteX133" fmla="*/ 292377 w 1003403"/>
                <a:gd name="connsiteY133" fmla="*/ 248011 h 392516"/>
                <a:gd name="connsiteX134" fmla="*/ 317193 w 1003403"/>
                <a:gd name="connsiteY134" fmla="*/ 225504 h 392516"/>
                <a:gd name="connsiteX135" fmla="*/ 319213 w 1003403"/>
                <a:gd name="connsiteY135" fmla="*/ 220598 h 392516"/>
                <a:gd name="connsiteX136" fmla="*/ 320656 w 1003403"/>
                <a:gd name="connsiteY136" fmla="*/ 213096 h 392516"/>
                <a:gd name="connsiteX137" fmla="*/ 320656 w 1003403"/>
                <a:gd name="connsiteY137" fmla="*/ 207325 h 392516"/>
                <a:gd name="connsiteX138" fmla="*/ 317770 w 1003403"/>
                <a:gd name="connsiteY138" fmla="*/ 207325 h 392516"/>
                <a:gd name="connsiteX139" fmla="*/ 305362 w 1003403"/>
                <a:gd name="connsiteY139" fmla="*/ 216559 h 392516"/>
                <a:gd name="connsiteX140" fmla="*/ 292088 w 1003403"/>
                <a:gd name="connsiteY140" fmla="*/ 224638 h 392516"/>
                <a:gd name="connsiteX141" fmla="*/ 277949 w 1003403"/>
                <a:gd name="connsiteY141" fmla="*/ 230121 h 392516"/>
                <a:gd name="connsiteX142" fmla="*/ 263521 w 1003403"/>
                <a:gd name="connsiteY142" fmla="*/ 231274 h 392516"/>
                <a:gd name="connsiteX143" fmla="*/ 253132 w 1003403"/>
                <a:gd name="connsiteY143" fmla="*/ 226657 h 392516"/>
                <a:gd name="connsiteX144" fmla="*/ 247938 w 1003403"/>
                <a:gd name="connsiteY144" fmla="*/ 218289 h 392516"/>
                <a:gd name="connsiteX145" fmla="*/ 246307 w 1003403"/>
                <a:gd name="connsiteY145" fmla="*/ 208502 h 392516"/>
                <a:gd name="connsiteX146" fmla="*/ 236685 w 1003403"/>
                <a:gd name="connsiteY146" fmla="*/ 218864 h 392516"/>
                <a:gd name="connsiteX147" fmla="*/ 224277 w 1003403"/>
                <a:gd name="connsiteY147" fmla="*/ 230694 h 392516"/>
                <a:gd name="connsiteX148" fmla="*/ 210715 w 1003403"/>
                <a:gd name="connsiteY148" fmla="*/ 239928 h 392516"/>
                <a:gd name="connsiteX149" fmla="*/ 196287 w 1003403"/>
                <a:gd name="connsiteY149" fmla="*/ 244833 h 392516"/>
                <a:gd name="connsiteX150" fmla="*/ 174356 w 1003403"/>
                <a:gd name="connsiteY150" fmla="*/ 239351 h 392516"/>
                <a:gd name="connsiteX151" fmla="*/ 165988 w 1003403"/>
                <a:gd name="connsiteY151" fmla="*/ 218575 h 392516"/>
                <a:gd name="connsiteX152" fmla="*/ 165987 w 1003403"/>
                <a:gd name="connsiteY152" fmla="*/ 218576 h 392516"/>
                <a:gd name="connsiteX153" fmla="*/ 168296 w 1003403"/>
                <a:gd name="connsiteY153" fmla="*/ 195780 h 392516"/>
                <a:gd name="connsiteX154" fmla="*/ 176953 w 1003403"/>
                <a:gd name="connsiteY154" fmla="*/ 174139 h 392516"/>
                <a:gd name="connsiteX155" fmla="*/ 191381 w 1003403"/>
                <a:gd name="connsiteY155" fmla="*/ 157691 h 392516"/>
                <a:gd name="connsiteX156" fmla="*/ 212157 w 1003403"/>
                <a:gd name="connsiteY156" fmla="*/ 151055 h 392516"/>
                <a:gd name="connsiteX157" fmla="*/ 221391 w 1003403"/>
                <a:gd name="connsiteY157" fmla="*/ 157114 h 392516"/>
                <a:gd name="connsiteX158" fmla="*/ 223411 w 1003403"/>
                <a:gd name="connsiteY158" fmla="*/ 168368 h 392516"/>
                <a:gd name="connsiteX159" fmla="*/ 219948 w 1003403"/>
                <a:gd name="connsiteY159" fmla="*/ 179333 h 392516"/>
                <a:gd name="connsiteX160" fmla="*/ 212734 w 1003403"/>
                <a:gd name="connsiteY160" fmla="*/ 188567 h 392516"/>
                <a:gd name="connsiteX161" fmla="*/ 205520 w 1003403"/>
                <a:gd name="connsiteY161" fmla="*/ 194626 h 392516"/>
                <a:gd name="connsiteX162" fmla="*/ 196575 w 1003403"/>
                <a:gd name="connsiteY162" fmla="*/ 202417 h 392516"/>
                <a:gd name="connsiteX163" fmla="*/ 189072 w 1003403"/>
                <a:gd name="connsiteY163" fmla="*/ 210785 h 392516"/>
                <a:gd name="connsiteX164" fmla="*/ 185898 w 1003403"/>
                <a:gd name="connsiteY164" fmla="*/ 217710 h 392516"/>
                <a:gd name="connsiteX165" fmla="*/ 188207 w 1003403"/>
                <a:gd name="connsiteY165" fmla="*/ 227521 h 392516"/>
                <a:gd name="connsiteX166" fmla="*/ 196287 w 1003403"/>
                <a:gd name="connsiteY166" fmla="*/ 229252 h 392516"/>
                <a:gd name="connsiteX167" fmla="*/ 206675 w 1003403"/>
                <a:gd name="connsiteY167" fmla="*/ 226366 h 392516"/>
                <a:gd name="connsiteX168" fmla="*/ 215043 w 1003403"/>
                <a:gd name="connsiteY168" fmla="*/ 222327 h 392516"/>
                <a:gd name="connsiteX169" fmla="*/ 223411 w 1003403"/>
                <a:gd name="connsiteY169" fmla="*/ 215979 h 392516"/>
                <a:gd name="connsiteX170" fmla="*/ 232645 w 1003403"/>
                <a:gd name="connsiteY170" fmla="*/ 207611 h 392516"/>
                <a:gd name="connsiteX171" fmla="*/ 241591 w 1003403"/>
                <a:gd name="connsiteY171" fmla="*/ 199243 h 392516"/>
                <a:gd name="connsiteX172" fmla="*/ 248805 w 1003403"/>
                <a:gd name="connsiteY172" fmla="*/ 192606 h 392516"/>
                <a:gd name="connsiteX173" fmla="*/ 250575 w 1003403"/>
                <a:gd name="connsiteY173" fmla="*/ 190710 h 392516"/>
                <a:gd name="connsiteX174" fmla="*/ 256595 w 1003403"/>
                <a:gd name="connsiteY174" fmla="*/ 177893 h 392516"/>
                <a:gd name="connsiteX175" fmla="*/ 273620 w 1003403"/>
                <a:gd name="connsiteY175" fmla="*/ 166351 h 392516"/>
                <a:gd name="connsiteX176" fmla="*/ 305362 w 1003403"/>
                <a:gd name="connsiteY176" fmla="*/ 167504 h 392516"/>
                <a:gd name="connsiteX177" fmla="*/ 310845 w 1003403"/>
                <a:gd name="connsiteY177" fmla="*/ 170389 h 392516"/>
                <a:gd name="connsiteX178" fmla="*/ 314308 w 1003403"/>
                <a:gd name="connsiteY178" fmla="*/ 174717 h 392516"/>
                <a:gd name="connsiteX179" fmla="*/ 309691 w 1003403"/>
                <a:gd name="connsiteY179" fmla="*/ 180200 h 392516"/>
                <a:gd name="connsiteX180" fmla="*/ 303054 w 1003403"/>
                <a:gd name="connsiteY180" fmla="*/ 179335 h 392516"/>
                <a:gd name="connsiteX181" fmla="*/ 296994 w 1003403"/>
                <a:gd name="connsiteY181" fmla="*/ 179046 h 392516"/>
                <a:gd name="connsiteX182" fmla="*/ 281700 w 1003403"/>
                <a:gd name="connsiteY182" fmla="*/ 183663 h 392516"/>
                <a:gd name="connsiteX183" fmla="*/ 271889 w 1003403"/>
                <a:gd name="connsiteY183" fmla="*/ 194051 h 392516"/>
                <a:gd name="connsiteX184" fmla="*/ 267272 w 1003403"/>
                <a:gd name="connsiteY184" fmla="*/ 206170 h 392516"/>
                <a:gd name="connsiteX185" fmla="*/ 267272 w 1003403"/>
                <a:gd name="connsiteY185" fmla="*/ 215690 h 392516"/>
                <a:gd name="connsiteX186" fmla="*/ 273620 w 1003403"/>
                <a:gd name="connsiteY186" fmla="*/ 214826 h 392516"/>
                <a:gd name="connsiteX187" fmla="*/ 284008 w 1003403"/>
                <a:gd name="connsiteY187" fmla="*/ 207612 h 392516"/>
                <a:gd name="connsiteX188" fmla="*/ 295840 w 1003403"/>
                <a:gd name="connsiteY188" fmla="*/ 198667 h 392516"/>
                <a:gd name="connsiteX189" fmla="*/ 306228 w 1003403"/>
                <a:gd name="connsiteY189" fmla="*/ 191165 h 392516"/>
                <a:gd name="connsiteX190" fmla="*/ 311710 w 1003403"/>
                <a:gd name="connsiteY190" fmla="*/ 188280 h 392516"/>
                <a:gd name="connsiteX191" fmla="*/ 319790 w 1003403"/>
                <a:gd name="connsiteY191" fmla="*/ 185684 h 392516"/>
                <a:gd name="connsiteX192" fmla="*/ 327581 w 1003403"/>
                <a:gd name="connsiteY192" fmla="*/ 185395 h 392516"/>
                <a:gd name="connsiteX193" fmla="*/ 331621 w 1003403"/>
                <a:gd name="connsiteY193" fmla="*/ 189435 h 392516"/>
                <a:gd name="connsiteX194" fmla="*/ 332198 w 1003403"/>
                <a:gd name="connsiteY194" fmla="*/ 199822 h 392516"/>
                <a:gd name="connsiteX195" fmla="*/ 333064 w 1003403"/>
                <a:gd name="connsiteY195" fmla="*/ 210787 h 392516"/>
                <a:gd name="connsiteX196" fmla="*/ 333064 w 1003403"/>
                <a:gd name="connsiteY196" fmla="*/ 213673 h 392516"/>
                <a:gd name="connsiteX197" fmla="*/ 344895 w 1003403"/>
                <a:gd name="connsiteY197" fmla="*/ 205594 h 392516"/>
                <a:gd name="connsiteX198" fmla="*/ 357015 w 1003403"/>
                <a:gd name="connsiteY198" fmla="*/ 198091 h 392516"/>
                <a:gd name="connsiteX199" fmla="*/ 362912 w 1003403"/>
                <a:gd name="connsiteY199" fmla="*/ 194741 h 392516"/>
                <a:gd name="connsiteX200" fmla="*/ 371153 w 1003403"/>
                <a:gd name="connsiteY200" fmla="*/ 174139 h 392516"/>
                <a:gd name="connsiteX201" fmla="*/ 385581 w 1003403"/>
                <a:gd name="connsiteY201" fmla="*/ 157691 h 392516"/>
                <a:gd name="connsiteX202" fmla="*/ 406358 w 1003403"/>
                <a:gd name="connsiteY202" fmla="*/ 151055 h 392516"/>
                <a:gd name="connsiteX203" fmla="*/ 415592 w 1003403"/>
                <a:gd name="connsiteY203" fmla="*/ 157114 h 392516"/>
                <a:gd name="connsiteX204" fmla="*/ 417612 w 1003403"/>
                <a:gd name="connsiteY204" fmla="*/ 168368 h 392516"/>
                <a:gd name="connsiteX205" fmla="*/ 414149 w 1003403"/>
                <a:gd name="connsiteY205" fmla="*/ 179333 h 392516"/>
                <a:gd name="connsiteX206" fmla="*/ 406935 w 1003403"/>
                <a:gd name="connsiteY206" fmla="*/ 188567 h 392516"/>
                <a:gd name="connsiteX207" fmla="*/ 399721 w 1003403"/>
                <a:gd name="connsiteY207" fmla="*/ 194626 h 392516"/>
                <a:gd name="connsiteX208" fmla="*/ 390775 w 1003403"/>
                <a:gd name="connsiteY208" fmla="*/ 202417 h 392516"/>
                <a:gd name="connsiteX209" fmla="*/ 383273 w 1003403"/>
                <a:gd name="connsiteY209" fmla="*/ 210785 h 392516"/>
                <a:gd name="connsiteX210" fmla="*/ 380098 w 1003403"/>
                <a:gd name="connsiteY210" fmla="*/ 217710 h 392516"/>
                <a:gd name="connsiteX211" fmla="*/ 382407 w 1003403"/>
                <a:gd name="connsiteY211" fmla="*/ 227521 h 392516"/>
                <a:gd name="connsiteX212" fmla="*/ 390487 w 1003403"/>
                <a:gd name="connsiteY212" fmla="*/ 229252 h 392516"/>
                <a:gd name="connsiteX213" fmla="*/ 400875 w 1003403"/>
                <a:gd name="connsiteY213" fmla="*/ 226366 h 392516"/>
                <a:gd name="connsiteX214" fmla="*/ 409243 w 1003403"/>
                <a:gd name="connsiteY214" fmla="*/ 222327 h 392516"/>
                <a:gd name="connsiteX215" fmla="*/ 417612 w 1003403"/>
                <a:gd name="connsiteY215" fmla="*/ 215979 h 392516"/>
                <a:gd name="connsiteX216" fmla="*/ 426846 w 1003403"/>
                <a:gd name="connsiteY216" fmla="*/ 207611 h 392516"/>
                <a:gd name="connsiteX217" fmla="*/ 435791 w 1003403"/>
                <a:gd name="connsiteY217" fmla="*/ 199243 h 392516"/>
                <a:gd name="connsiteX218" fmla="*/ 443005 w 1003403"/>
                <a:gd name="connsiteY218" fmla="*/ 192606 h 392516"/>
                <a:gd name="connsiteX219" fmla="*/ 443557 w 1003403"/>
                <a:gd name="connsiteY219" fmla="*/ 192015 h 392516"/>
                <a:gd name="connsiteX220" fmla="*/ 447044 w 1003403"/>
                <a:gd name="connsiteY220" fmla="*/ 182219 h 392516"/>
                <a:gd name="connsiteX221" fmla="*/ 454547 w 1003403"/>
                <a:gd name="connsiteY221" fmla="*/ 166637 h 392516"/>
                <a:gd name="connsiteX222" fmla="*/ 462049 w 1003403"/>
                <a:gd name="connsiteY222" fmla="*/ 154518 h 392516"/>
                <a:gd name="connsiteX223" fmla="*/ 466666 w 1003403"/>
                <a:gd name="connsiteY223" fmla="*/ 151632 h 392516"/>
                <a:gd name="connsiteX224" fmla="*/ 472726 w 1003403"/>
                <a:gd name="connsiteY224" fmla="*/ 153074 h 392516"/>
                <a:gd name="connsiteX225" fmla="*/ 477343 w 1003403"/>
                <a:gd name="connsiteY225" fmla="*/ 157980 h 392516"/>
                <a:gd name="connsiteX226" fmla="*/ 478209 w 1003403"/>
                <a:gd name="connsiteY226" fmla="*/ 165194 h 392516"/>
                <a:gd name="connsiteX227" fmla="*/ 477055 w 1003403"/>
                <a:gd name="connsiteY227" fmla="*/ 166925 h 392516"/>
                <a:gd name="connsiteX228" fmla="*/ 475323 w 1003403"/>
                <a:gd name="connsiteY228" fmla="*/ 170099 h 392516"/>
                <a:gd name="connsiteX229" fmla="*/ 473592 w 1003403"/>
                <a:gd name="connsiteY229" fmla="*/ 173562 h 392516"/>
                <a:gd name="connsiteX230" fmla="*/ 472438 w 1003403"/>
                <a:gd name="connsiteY230" fmla="*/ 175293 h 392516"/>
                <a:gd name="connsiteX231" fmla="*/ 478786 w 1003403"/>
                <a:gd name="connsiteY231" fmla="*/ 170099 h 392516"/>
                <a:gd name="connsiteX232" fmla="*/ 485135 w 1003403"/>
                <a:gd name="connsiteY232" fmla="*/ 164617 h 392516"/>
                <a:gd name="connsiteX233" fmla="*/ 492060 w 1003403"/>
                <a:gd name="connsiteY233" fmla="*/ 160289 h 392516"/>
                <a:gd name="connsiteX234" fmla="*/ 499563 w 1003403"/>
                <a:gd name="connsiteY234" fmla="*/ 158268 h 392516"/>
                <a:gd name="connsiteX235" fmla="*/ 508219 w 1003403"/>
                <a:gd name="connsiteY235" fmla="*/ 161154 h 392516"/>
                <a:gd name="connsiteX236" fmla="*/ 514279 w 1003403"/>
                <a:gd name="connsiteY236" fmla="*/ 167790 h 392516"/>
                <a:gd name="connsiteX237" fmla="*/ 517453 w 1003403"/>
                <a:gd name="connsiteY237" fmla="*/ 176158 h 392516"/>
                <a:gd name="connsiteX238" fmla="*/ 516876 w 1003403"/>
                <a:gd name="connsiteY238" fmla="*/ 184526 h 392516"/>
                <a:gd name="connsiteX239" fmla="*/ 509662 w 1003403"/>
                <a:gd name="connsiteY239" fmla="*/ 199819 h 392516"/>
                <a:gd name="connsiteX240" fmla="*/ 500139 w 1003403"/>
                <a:gd name="connsiteY240" fmla="*/ 214247 h 392516"/>
                <a:gd name="connsiteX241" fmla="*/ 491482 w 1003403"/>
                <a:gd name="connsiteY241" fmla="*/ 228963 h 392516"/>
                <a:gd name="connsiteX242" fmla="*/ 485711 w 1003403"/>
                <a:gd name="connsiteY242" fmla="*/ 243967 h 392516"/>
                <a:gd name="connsiteX243" fmla="*/ 485423 w 1003403"/>
                <a:gd name="connsiteY243" fmla="*/ 251469 h 392516"/>
                <a:gd name="connsiteX244" fmla="*/ 489751 w 1003403"/>
                <a:gd name="connsiteY244" fmla="*/ 252048 h 392516"/>
                <a:gd name="connsiteX245" fmla="*/ 494945 w 1003403"/>
                <a:gd name="connsiteY245" fmla="*/ 249162 h 392516"/>
                <a:gd name="connsiteX246" fmla="*/ 498985 w 1003403"/>
                <a:gd name="connsiteY246" fmla="*/ 246277 h 392516"/>
                <a:gd name="connsiteX247" fmla="*/ 521204 w 1003403"/>
                <a:gd name="connsiteY247" fmla="*/ 226078 h 392516"/>
                <a:gd name="connsiteX248" fmla="*/ 536735 w 1003403"/>
                <a:gd name="connsiteY248" fmla="*/ 209893 h 392516"/>
                <a:gd name="connsiteX249" fmla="*/ 539672 w 1003403"/>
                <a:gd name="connsiteY249" fmla="*/ 195205 h 392516"/>
                <a:gd name="connsiteX250" fmla="*/ 550926 w 1003403"/>
                <a:gd name="connsiteY250" fmla="*/ 175872 h 392516"/>
                <a:gd name="connsiteX251" fmla="*/ 567951 w 1003403"/>
                <a:gd name="connsiteY251" fmla="*/ 162310 h 392516"/>
                <a:gd name="connsiteX252" fmla="*/ 589017 w 1003403"/>
                <a:gd name="connsiteY252" fmla="*/ 157982 h 392516"/>
                <a:gd name="connsiteX253" fmla="*/ 595365 w 1003403"/>
                <a:gd name="connsiteY253" fmla="*/ 159714 h 392516"/>
                <a:gd name="connsiteX254" fmla="*/ 601136 w 1003403"/>
                <a:gd name="connsiteY254" fmla="*/ 163176 h 392516"/>
                <a:gd name="connsiteX255" fmla="*/ 602290 w 1003403"/>
                <a:gd name="connsiteY255" fmla="*/ 164329 h 392516"/>
                <a:gd name="connsiteX256" fmla="*/ 602578 w 1003403"/>
                <a:gd name="connsiteY256" fmla="*/ 163465 h 392516"/>
                <a:gd name="connsiteX257" fmla="*/ 602866 w 1003403"/>
                <a:gd name="connsiteY257" fmla="*/ 163175 h 392516"/>
                <a:gd name="connsiteX258" fmla="*/ 620469 w 1003403"/>
                <a:gd name="connsiteY258" fmla="*/ 126529 h 392516"/>
                <a:gd name="connsiteX259" fmla="*/ 638360 w 1003403"/>
                <a:gd name="connsiteY259" fmla="*/ 92192 h 392516"/>
                <a:gd name="connsiteX260" fmla="*/ 657405 w 1003403"/>
                <a:gd name="connsiteY260" fmla="*/ 60452 h 392516"/>
                <a:gd name="connsiteX261" fmla="*/ 678758 w 1003403"/>
                <a:gd name="connsiteY261" fmla="*/ 30732 h 392516"/>
                <a:gd name="connsiteX262" fmla="*/ 688858 w 1003403"/>
                <a:gd name="connsiteY262" fmla="*/ 24384 h 392516"/>
                <a:gd name="connsiteX263" fmla="*/ 694629 w 1003403"/>
                <a:gd name="connsiteY263" fmla="*/ 30443 h 392516"/>
                <a:gd name="connsiteX264" fmla="*/ 696938 w 1003403"/>
                <a:gd name="connsiteY264" fmla="*/ 42274 h 392516"/>
                <a:gd name="connsiteX265" fmla="*/ 696649 w 1003403"/>
                <a:gd name="connsiteY265" fmla="*/ 53527 h 392516"/>
                <a:gd name="connsiteX266" fmla="*/ 684818 w 1003403"/>
                <a:gd name="connsiteY266" fmla="*/ 89307 h 392516"/>
                <a:gd name="connsiteX267" fmla="*/ 668370 w 1003403"/>
                <a:gd name="connsiteY267" fmla="*/ 125087 h 392516"/>
                <a:gd name="connsiteX268" fmla="*/ 648459 w 1003403"/>
                <a:gd name="connsiteY268" fmla="*/ 160290 h 392516"/>
                <a:gd name="connsiteX269" fmla="*/ 626817 w 1003403"/>
                <a:gd name="connsiteY269" fmla="*/ 195493 h 392516"/>
                <a:gd name="connsiteX270" fmla="*/ 624509 w 1003403"/>
                <a:gd name="connsiteY270" fmla="*/ 199244 h 392516"/>
                <a:gd name="connsiteX271" fmla="*/ 623355 w 1003403"/>
                <a:gd name="connsiteY271" fmla="*/ 203283 h 392516"/>
                <a:gd name="connsiteX272" fmla="*/ 621912 w 1003403"/>
                <a:gd name="connsiteY272" fmla="*/ 210786 h 392516"/>
                <a:gd name="connsiteX273" fmla="*/ 621046 w 1003403"/>
                <a:gd name="connsiteY273" fmla="*/ 220596 h 392516"/>
                <a:gd name="connsiteX274" fmla="*/ 621912 w 1003403"/>
                <a:gd name="connsiteY274" fmla="*/ 230118 h 392516"/>
                <a:gd name="connsiteX275" fmla="*/ 625086 w 1003403"/>
                <a:gd name="connsiteY275" fmla="*/ 235600 h 392516"/>
                <a:gd name="connsiteX276" fmla="*/ 635185 w 1003403"/>
                <a:gd name="connsiteY276" fmla="*/ 235022 h 392516"/>
                <a:gd name="connsiteX277" fmla="*/ 649325 w 1003403"/>
                <a:gd name="connsiteY277" fmla="*/ 227520 h 392516"/>
                <a:gd name="connsiteX278" fmla="*/ 664330 w 1003403"/>
                <a:gd name="connsiteY278" fmla="*/ 216267 h 392516"/>
                <a:gd name="connsiteX279" fmla="*/ 665457 w 1003403"/>
                <a:gd name="connsiteY279" fmla="*/ 215238 h 392516"/>
                <a:gd name="connsiteX280" fmla="*/ 669235 w 1003403"/>
                <a:gd name="connsiteY280" fmla="*/ 200397 h 392516"/>
                <a:gd name="connsiteX281" fmla="*/ 675583 w 1003403"/>
                <a:gd name="connsiteY281" fmla="*/ 183950 h 392516"/>
                <a:gd name="connsiteX282" fmla="*/ 691743 w 1003403"/>
                <a:gd name="connsiteY282" fmla="*/ 160289 h 392516"/>
                <a:gd name="connsiteX283" fmla="*/ 715405 w 1003403"/>
                <a:gd name="connsiteY283" fmla="*/ 147015 h 392516"/>
                <a:gd name="connsiteX284" fmla="*/ 724927 w 1003403"/>
                <a:gd name="connsiteY284" fmla="*/ 146726 h 392516"/>
                <a:gd name="connsiteX285" fmla="*/ 733873 w 1003403"/>
                <a:gd name="connsiteY285" fmla="*/ 149900 h 392516"/>
                <a:gd name="connsiteX286" fmla="*/ 739644 w 1003403"/>
                <a:gd name="connsiteY286" fmla="*/ 156537 h 392516"/>
                <a:gd name="connsiteX287" fmla="*/ 740510 w 1003403"/>
                <a:gd name="connsiteY287" fmla="*/ 164905 h 392516"/>
                <a:gd name="connsiteX288" fmla="*/ 739067 w 1003403"/>
                <a:gd name="connsiteY288" fmla="*/ 168368 h 392516"/>
                <a:gd name="connsiteX289" fmla="*/ 737335 w 1003403"/>
                <a:gd name="connsiteY289" fmla="*/ 171253 h 392516"/>
                <a:gd name="connsiteX290" fmla="*/ 735604 w 1003403"/>
                <a:gd name="connsiteY290" fmla="*/ 172695 h 392516"/>
                <a:gd name="connsiteX291" fmla="*/ 733873 w 1003403"/>
                <a:gd name="connsiteY291" fmla="*/ 170964 h 392516"/>
                <a:gd name="connsiteX292" fmla="*/ 733007 w 1003403"/>
                <a:gd name="connsiteY292" fmla="*/ 168655 h 392516"/>
                <a:gd name="connsiteX293" fmla="*/ 731853 w 1003403"/>
                <a:gd name="connsiteY293" fmla="*/ 165481 h 392516"/>
                <a:gd name="connsiteX294" fmla="*/ 729256 w 1003403"/>
                <a:gd name="connsiteY294" fmla="*/ 162595 h 392516"/>
                <a:gd name="connsiteX295" fmla="*/ 725216 w 1003403"/>
                <a:gd name="connsiteY295" fmla="*/ 161153 h 392516"/>
                <a:gd name="connsiteX296" fmla="*/ 712808 w 1003403"/>
                <a:gd name="connsiteY296" fmla="*/ 168078 h 392516"/>
                <a:gd name="connsiteX297" fmla="*/ 699534 w 1003403"/>
                <a:gd name="connsiteY297" fmla="*/ 183948 h 392516"/>
                <a:gd name="connsiteX298" fmla="*/ 688568 w 1003403"/>
                <a:gd name="connsiteY298" fmla="*/ 202127 h 392516"/>
                <a:gd name="connsiteX299" fmla="*/ 682797 w 1003403"/>
                <a:gd name="connsiteY299" fmla="*/ 215689 h 392516"/>
                <a:gd name="connsiteX300" fmla="*/ 683086 w 1003403"/>
                <a:gd name="connsiteY300" fmla="*/ 223768 h 392516"/>
                <a:gd name="connsiteX301" fmla="*/ 689434 w 1003403"/>
                <a:gd name="connsiteY301" fmla="*/ 220594 h 392516"/>
                <a:gd name="connsiteX302" fmla="*/ 699245 w 1003403"/>
                <a:gd name="connsiteY302" fmla="*/ 210495 h 392516"/>
                <a:gd name="connsiteX303" fmla="*/ 709633 w 1003403"/>
                <a:gd name="connsiteY303" fmla="*/ 198087 h 392516"/>
                <a:gd name="connsiteX304" fmla="*/ 718002 w 1003403"/>
                <a:gd name="connsiteY304" fmla="*/ 187122 h 392516"/>
                <a:gd name="connsiteX305" fmla="*/ 722041 w 1003403"/>
                <a:gd name="connsiteY305" fmla="*/ 181929 h 392516"/>
                <a:gd name="connsiteX306" fmla="*/ 729544 w 1003403"/>
                <a:gd name="connsiteY306" fmla="*/ 179333 h 392516"/>
                <a:gd name="connsiteX307" fmla="*/ 735893 w 1003403"/>
                <a:gd name="connsiteY307" fmla="*/ 182219 h 392516"/>
                <a:gd name="connsiteX308" fmla="*/ 739644 w 1003403"/>
                <a:gd name="connsiteY308" fmla="*/ 188278 h 392516"/>
                <a:gd name="connsiteX309" fmla="*/ 739066 w 1003403"/>
                <a:gd name="connsiteY309" fmla="*/ 195492 h 392516"/>
                <a:gd name="connsiteX310" fmla="*/ 733584 w 1003403"/>
                <a:gd name="connsiteY310" fmla="*/ 206457 h 392516"/>
                <a:gd name="connsiteX311" fmla="*/ 729544 w 1003403"/>
                <a:gd name="connsiteY311" fmla="*/ 217710 h 392516"/>
                <a:gd name="connsiteX312" fmla="*/ 731275 w 1003403"/>
                <a:gd name="connsiteY312" fmla="*/ 227520 h 392516"/>
                <a:gd name="connsiteX313" fmla="*/ 740798 w 1003403"/>
                <a:gd name="connsiteY313" fmla="*/ 227231 h 392516"/>
                <a:gd name="connsiteX314" fmla="*/ 752340 w 1003403"/>
                <a:gd name="connsiteY314" fmla="*/ 219152 h 392516"/>
                <a:gd name="connsiteX315" fmla="*/ 764171 w 1003403"/>
                <a:gd name="connsiteY315" fmla="*/ 206456 h 392516"/>
                <a:gd name="connsiteX316" fmla="*/ 775425 w 1003403"/>
                <a:gd name="connsiteY316" fmla="*/ 193760 h 392516"/>
                <a:gd name="connsiteX317" fmla="*/ 783275 w 1003403"/>
                <a:gd name="connsiteY317" fmla="*/ 185649 h 392516"/>
                <a:gd name="connsiteX318" fmla="*/ 783794 w 1003403"/>
                <a:gd name="connsiteY318" fmla="*/ 182795 h 392516"/>
                <a:gd name="connsiteX319" fmla="*/ 787834 w 1003403"/>
                <a:gd name="connsiteY319" fmla="*/ 164617 h 392516"/>
                <a:gd name="connsiteX320" fmla="*/ 790431 w 1003403"/>
                <a:gd name="connsiteY320" fmla="*/ 161154 h 392516"/>
                <a:gd name="connsiteX321" fmla="*/ 795336 w 1003403"/>
                <a:gd name="connsiteY321" fmla="*/ 159712 h 392516"/>
                <a:gd name="connsiteX322" fmla="*/ 799953 w 1003403"/>
                <a:gd name="connsiteY322" fmla="*/ 160579 h 392516"/>
                <a:gd name="connsiteX323" fmla="*/ 802550 w 1003403"/>
                <a:gd name="connsiteY323" fmla="*/ 164042 h 392516"/>
                <a:gd name="connsiteX324" fmla="*/ 801685 w 1003403"/>
                <a:gd name="connsiteY324" fmla="*/ 177892 h 392516"/>
                <a:gd name="connsiteX325" fmla="*/ 797645 w 1003403"/>
                <a:gd name="connsiteY325" fmla="*/ 193761 h 392516"/>
                <a:gd name="connsiteX326" fmla="*/ 808898 w 1003403"/>
                <a:gd name="connsiteY326" fmla="*/ 179046 h 392516"/>
                <a:gd name="connsiteX327" fmla="*/ 822461 w 1003403"/>
                <a:gd name="connsiteY327" fmla="*/ 163176 h 392516"/>
                <a:gd name="connsiteX328" fmla="*/ 838044 w 1003403"/>
                <a:gd name="connsiteY328" fmla="*/ 151057 h 392516"/>
                <a:gd name="connsiteX329" fmla="*/ 855357 w 1003403"/>
                <a:gd name="connsiteY329" fmla="*/ 147017 h 392516"/>
                <a:gd name="connsiteX330" fmla="*/ 862571 w 1003403"/>
                <a:gd name="connsiteY330" fmla="*/ 151922 h 392516"/>
                <a:gd name="connsiteX331" fmla="*/ 866900 w 1003403"/>
                <a:gd name="connsiteY331" fmla="*/ 159425 h 392516"/>
                <a:gd name="connsiteX332" fmla="*/ 868343 w 1003403"/>
                <a:gd name="connsiteY332" fmla="*/ 167504 h 392516"/>
                <a:gd name="connsiteX333" fmla="*/ 867765 w 1003403"/>
                <a:gd name="connsiteY333" fmla="*/ 174429 h 392516"/>
                <a:gd name="connsiteX334" fmla="*/ 862860 w 1003403"/>
                <a:gd name="connsiteY334" fmla="*/ 183374 h 392516"/>
                <a:gd name="connsiteX335" fmla="*/ 858531 w 1003403"/>
                <a:gd name="connsiteY335" fmla="*/ 192896 h 392516"/>
                <a:gd name="connsiteX336" fmla="*/ 857377 w 1003403"/>
                <a:gd name="connsiteY336" fmla="*/ 202706 h 392516"/>
                <a:gd name="connsiteX337" fmla="*/ 861994 w 1003403"/>
                <a:gd name="connsiteY337" fmla="*/ 211074 h 392516"/>
                <a:gd name="connsiteX338" fmla="*/ 861705 w 1003403"/>
                <a:gd name="connsiteY338" fmla="*/ 214537 h 392516"/>
                <a:gd name="connsiteX339" fmla="*/ 856223 w 1003403"/>
                <a:gd name="connsiteY339" fmla="*/ 215979 h 392516"/>
                <a:gd name="connsiteX340" fmla="*/ 849297 w 1003403"/>
                <a:gd name="connsiteY340" fmla="*/ 215115 h 392516"/>
                <a:gd name="connsiteX341" fmla="*/ 844392 w 1003403"/>
                <a:gd name="connsiteY341" fmla="*/ 212516 h 392516"/>
                <a:gd name="connsiteX342" fmla="*/ 838621 w 1003403"/>
                <a:gd name="connsiteY342" fmla="*/ 199820 h 392516"/>
                <a:gd name="connsiteX343" fmla="*/ 839198 w 1003403"/>
                <a:gd name="connsiteY343" fmla="*/ 186548 h 392516"/>
                <a:gd name="connsiteX344" fmla="*/ 843815 w 1003403"/>
                <a:gd name="connsiteY344" fmla="*/ 173563 h 392516"/>
                <a:gd name="connsiteX345" fmla="*/ 851029 w 1003403"/>
                <a:gd name="connsiteY345" fmla="*/ 161444 h 392516"/>
                <a:gd name="connsiteX346" fmla="*/ 851028 w 1003403"/>
                <a:gd name="connsiteY346" fmla="*/ 161443 h 392516"/>
                <a:gd name="connsiteX347" fmla="*/ 830829 w 1003403"/>
                <a:gd name="connsiteY347" fmla="*/ 176159 h 392516"/>
                <a:gd name="connsiteX348" fmla="*/ 813227 w 1003403"/>
                <a:gd name="connsiteY348" fmla="*/ 197511 h 392516"/>
                <a:gd name="connsiteX349" fmla="*/ 797356 w 1003403"/>
                <a:gd name="connsiteY349" fmla="*/ 222038 h 392516"/>
                <a:gd name="connsiteX350" fmla="*/ 781773 w 1003403"/>
                <a:gd name="connsiteY350" fmla="*/ 245699 h 392516"/>
                <a:gd name="connsiteX351" fmla="*/ 776291 w 1003403"/>
                <a:gd name="connsiteY351" fmla="*/ 247141 h 392516"/>
                <a:gd name="connsiteX352" fmla="*/ 772251 w 1003403"/>
                <a:gd name="connsiteY352" fmla="*/ 242813 h 392516"/>
                <a:gd name="connsiteX353" fmla="*/ 772828 w 1003403"/>
                <a:gd name="connsiteY353" fmla="*/ 235599 h 392516"/>
                <a:gd name="connsiteX354" fmla="*/ 776868 w 1003403"/>
                <a:gd name="connsiteY354" fmla="*/ 220017 h 392516"/>
                <a:gd name="connsiteX355" fmla="*/ 779335 w 1003403"/>
                <a:gd name="connsiteY355" fmla="*/ 207069 h 392516"/>
                <a:gd name="connsiteX356" fmla="*/ 769365 w 1003403"/>
                <a:gd name="connsiteY356" fmla="*/ 221172 h 392516"/>
                <a:gd name="connsiteX357" fmla="*/ 754937 w 1003403"/>
                <a:gd name="connsiteY357" fmla="*/ 234733 h 392516"/>
                <a:gd name="connsiteX358" fmla="*/ 737912 w 1003403"/>
                <a:gd name="connsiteY358" fmla="*/ 243967 h 392516"/>
                <a:gd name="connsiteX359" fmla="*/ 727524 w 1003403"/>
                <a:gd name="connsiteY359" fmla="*/ 245120 h 392516"/>
                <a:gd name="connsiteX360" fmla="*/ 719156 w 1003403"/>
                <a:gd name="connsiteY360" fmla="*/ 241946 h 392516"/>
                <a:gd name="connsiteX361" fmla="*/ 713096 w 1003403"/>
                <a:gd name="connsiteY361" fmla="*/ 235310 h 392516"/>
                <a:gd name="connsiteX362" fmla="*/ 709921 w 1003403"/>
                <a:gd name="connsiteY362" fmla="*/ 226653 h 392516"/>
                <a:gd name="connsiteX363" fmla="*/ 709922 w 1003403"/>
                <a:gd name="connsiteY363" fmla="*/ 226656 h 392516"/>
                <a:gd name="connsiteX364" fmla="*/ 704151 w 1003403"/>
                <a:gd name="connsiteY364" fmla="*/ 231273 h 392516"/>
                <a:gd name="connsiteX365" fmla="*/ 697225 w 1003403"/>
                <a:gd name="connsiteY365" fmla="*/ 235601 h 392516"/>
                <a:gd name="connsiteX366" fmla="*/ 689145 w 1003403"/>
                <a:gd name="connsiteY366" fmla="*/ 238486 h 392516"/>
                <a:gd name="connsiteX367" fmla="*/ 680489 w 1003403"/>
                <a:gd name="connsiteY367" fmla="*/ 238486 h 392516"/>
                <a:gd name="connsiteX368" fmla="*/ 674140 w 1003403"/>
                <a:gd name="connsiteY368" fmla="*/ 236177 h 392516"/>
                <a:gd name="connsiteX369" fmla="*/ 668658 w 1003403"/>
                <a:gd name="connsiteY369" fmla="*/ 231560 h 392516"/>
                <a:gd name="connsiteX370" fmla="*/ 666090 w 1003403"/>
                <a:gd name="connsiteY370" fmla="*/ 225492 h 392516"/>
                <a:gd name="connsiteX371" fmla="*/ 663177 w 1003403"/>
                <a:gd name="connsiteY371" fmla="*/ 228098 h 392516"/>
                <a:gd name="connsiteX372" fmla="*/ 642977 w 1003403"/>
                <a:gd name="connsiteY372" fmla="*/ 244256 h 392516"/>
                <a:gd name="connsiteX373" fmla="*/ 622489 w 1003403"/>
                <a:gd name="connsiteY373" fmla="*/ 255510 h 392516"/>
                <a:gd name="connsiteX374" fmla="*/ 605176 w 1003403"/>
                <a:gd name="connsiteY374" fmla="*/ 255799 h 392516"/>
                <a:gd name="connsiteX375" fmla="*/ 595653 w 1003403"/>
                <a:gd name="connsiteY375" fmla="*/ 244546 h 392516"/>
                <a:gd name="connsiteX376" fmla="*/ 592768 w 1003403"/>
                <a:gd name="connsiteY376" fmla="*/ 228098 h 392516"/>
                <a:gd name="connsiteX377" fmla="*/ 593345 w 1003403"/>
                <a:gd name="connsiteY377" fmla="*/ 210208 h 392516"/>
                <a:gd name="connsiteX378" fmla="*/ 595365 w 1003403"/>
                <a:gd name="connsiteY378" fmla="*/ 196070 h 392516"/>
                <a:gd name="connsiteX379" fmla="*/ 594211 w 1003403"/>
                <a:gd name="connsiteY379" fmla="*/ 197801 h 392516"/>
                <a:gd name="connsiteX380" fmla="*/ 593345 w 1003403"/>
                <a:gd name="connsiteY380" fmla="*/ 199532 h 392516"/>
                <a:gd name="connsiteX381" fmla="*/ 584111 w 1003403"/>
                <a:gd name="connsiteY381" fmla="*/ 210786 h 392516"/>
                <a:gd name="connsiteX382" fmla="*/ 572569 w 1003403"/>
                <a:gd name="connsiteY382" fmla="*/ 222616 h 392516"/>
                <a:gd name="connsiteX383" fmla="*/ 559583 w 1003403"/>
                <a:gd name="connsiteY383" fmla="*/ 230984 h 392516"/>
                <a:gd name="connsiteX384" fmla="*/ 545444 w 1003403"/>
                <a:gd name="connsiteY384" fmla="*/ 231273 h 392516"/>
                <a:gd name="connsiteX385" fmla="*/ 538518 w 1003403"/>
                <a:gd name="connsiteY385" fmla="*/ 225791 h 392516"/>
                <a:gd name="connsiteX386" fmla="*/ 537837 w 1003403"/>
                <a:gd name="connsiteY386" fmla="*/ 223872 h 392516"/>
                <a:gd name="connsiteX387" fmla="*/ 531882 w 1003403"/>
                <a:gd name="connsiteY387" fmla="*/ 232715 h 392516"/>
                <a:gd name="connsiteX388" fmla="*/ 518319 w 1003403"/>
                <a:gd name="connsiteY388" fmla="*/ 248296 h 392516"/>
                <a:gd name="connsiteX389" fmla="*/ 503314 w 1003403"/>
                <a:gd name="connsiteY389" fmla="*/ 261281 h 392516"/>
                <a:gd name="connsiteX390" fmla="*/ 488886 w 1003403"/>
                <a:gd name="connsiteY390" fmla="*/ 266763 h 392516"/>
                <a:gd name="connsiteX391" fmla="*/ 480229 w 1003403"/>
                <a:gd name="connsiteY391" fmla="*/ 264454 h 392516"/>
                <a:gd name="connsiteX392" fmla="*/ 473881 w 1003403"/>
                <a:gd name="connsiteY392" fmla="*/ 259260 h 392516"/>
                <a:gd name="connsiteX393" fmla="*/ 469841 w 1003403"/>
                <a:gd name="connsiteY393" fmla="*/ 252047 h 392516"/>
                <a:gd name="connsiteX394" fmla="*/ 468687 w 1003403"/>
                <a:gd name="connsiteY394" fmla="*/ 243967 h 392516"/>
                <a:gd name="connsiteX395" fmla="*/ 474458 w 1003403"/>
                <a:gd name="connsiteY395" fmla="*/ 215689 h 392516"/>
                <a:gd name="connsiteX396" fmla="*/ 487155 w 1003403"/>
                <a:gd name="connsiteY396" fmla="*/ 190297 h 392516"/>
                <a:gd name="connsiteX397" fmla="*/ 488886 w 1003403"/>
                <a:gd name="connsiteY397" fmla="*/ 181929 h 392516"/>
                <a:gd name="connsiteX398" fmla="*/ 480518 w 1003403"/>
                <a:gd name="connsiteY398" fmla="*/ 182796 h 392516"/>
                <a:gd name="connsiteX399" fmla="*/ 469841 w 1003403"/>
                <a:gd name="connsiteY399" fmla="*/ 192318 h 392516"/>
                <a:gd name="connsiteX400" fmla="*/ 460607 w 1003403"/>
                <a:gd name="connsiteY400" fmla="*/ 207034 h 392516"/>
                <a:gd name="connsiteX401" fmla="*/ 453104 w 1003403"/>
                <a:gd name="connsiteY401" fmla="*/ 222616 h 392516"/>
                <a:gd name="connsiteX402" fmla="*/ 446756 w 1003403"/>
                <a:gd name="connsiteY402" fmla="*/ 235024 h 392516"/>
                <a:gd name="connsiteX403" fmla="*/ 446755 w 1003403"/>
                <a:gd name="connsiteY403" fmla="*/ 235023 h 392516"/>
                <a:gd name="connsiteX404" fmla="*/ 445024 w 1003403"/>
                <a:gd name="connsiteY404" fmla="*/ 237909 h 392516"/>
                <a:gd name="connsiteX405" fmla="*/ 438676 w 1003403"/>
                <a:gd name="connsiteY405" fmla="*/ 236177 h 392516"/>
                <a:gd name="connsiteX406" fmla="*/ 437810 w 1003403"/>
                <a:gd name="connsiteY406" fmla="*/ 231849 h 392516"/>
                <a:gd name="connsiteX407" fmla="*/ 437522 w 1003403"/>
                <a:gd name="connsiteY407" fmla="*/ 227521 h 392516"/>
                <a:gd name="connsiteX408" fmla="*/ 437522 w 1003403"/>
                <a:gd name="connsiteY408" fmla="*/ 214825 h 392516"/>
                <a:gd name="connsiteX409" fmla="*/ 438429 w 1003403"/>
                <a:gd name="connsiteY409" fmla="*/ 210740 h 392516"/>
                <a:gd name="connsiteX410" fmla="*/ 430886 w 1003403"/>
                <a:gd name="connsiteY410" fmla="*/ 218864 h 392516"/>
                <a:gd name="connsiteX411" fmla="*/ 418478 w 1003403"/>
                <a:gd name="connsiteY411" fmla="*/ 230694 h 392516"/>
                <a:gd name="connsiteX412" fmla="*/ 404915 w 1003403"/>
                <a:gd name="connsiteY412" fmla="*/ 239928 h 392516"/>
                <a:gd name="connsiteX413" fmla="*/ 390487 w 1003403"/>
                <a:gd name="connsiteY413" fmla="*/ 244833 h 392516"/>
                <a:gd name="connsiteX414" fmla="*/ 368556 w 1003403"/>
                <a:gd name="connsiteY414" fmla="*/ 239351 h 392516"/>
                <a:gd name="connsiteX415" fmla="*/ 360188 w 1003403"/>
                <a:gd name="connsiteY415" fmla="*/ 218575 h 392516"/>
                <a:gd name="connsiteX416" fmla="*/ 360188 w 1003403"/>
                <a:gd name="connsiteY416" fmla="*/ 218576 h 392516"/>
                <a:gd name="connsiteX417" fmla="*/ 361326 w 1003403"/>
                <a:gd name="connsiteY417" fmla="*/ 207342 h 392516"/>
                <a:gd name="connsiteX418" fmla="*/ 349801 w 1003403"/>
                <a:gd name="connsiteY418" fmla="*/ 218002 h 392516"/>
                <a:gd name="connsiteX419" fmla="*/ 338258 w 1003403"/>
                <a:gd name="connsiteY419" fmla="*/ 228101 h 392516"/>
                <a:gd name="connsiteX420" fmla="*/ 331621 w 1003403"/>
                <a:gd name="connsiteY420" fmla="*/ 237335 h 392516"/>
                <a:gd name="connsiteX421" fmla="*/ 328447 w 1003403"/>
                <a:gd name="connsiteY421" fmla="*/ 248011 h 392516"/>
                <a:gd name="connsiteX422" fmla="*/ 316327 w 1003403"/>
                <a:gd name="connsiteY422" fmla="*/ 288119 h 392516"/>
                <a:gd name="connsiteX423" fmla="*/ 301611 w 1003403"/>
                <a:gd name="connsiteY423" fmla="*/ 329382 h 392516"/>
                <a:gd name="connsiteX424" fmla="*/ 280546 w 1003403"/>
                <a:gd name="connsiteY424" fmla="*/ 366316 h 392516"/>
                <a:gd name="connsiteX425" fmla="*/ 251113 w 1003403"/>
                <a:gd name="connsiteY425" fmla="*/ 392285 h 392516"/>
                <a:gd name="connsiteX426" fmla="*/ 242744 w 1003403"/>
                <a:gd name="connsiteY426" fmla="*/ 391996 h 392516"/>
                <a:gd name="connsiteX427" fmla="*/ 234665 w 1003403"/>
                <a:gd name="connsiteY427" fmla="*/ 388245 h 392516"/>
                <a:gd name="connsiteX428" fmla="*/ 226585 w 1003403"/>
                <a:gd name="connsiteY428" fmla="*/ 375837 h 392516"/>
                <a:gd name="connsiteX429" fmla="*/ 225142 w 1003403"/>
                <a:gd name="connsiteY429" fmla="*/ 360544 h 392516"/>
                <a:gd name="connsiteX430" fmla="*/ 227739 w 1003403"/>
                <a:gd name="connsiteY430" fmla="*/ 344963 h 392516"/>
                <a:gd name="connsiteX431" fmla="*/ 232645 w 1003403"/>
                <a:gd name="connsiteY431" fmla="*/ 331401 h 392516"/>
                <a:gd name="connsiteX432" fmla="*/ 249381 w 1003403"/>
                <a:gd name="connsiteY432" fmla="*/ 300238 h 392516"/>
                <a:gd name="connsiteX433" fmla="*/ 256764 w 1003403"/>
                <a:gd name="connsiteY433" fmla="*/ 290073 h 392516"/>
                <a:gd name="connsiteX434" fmla="*/ 252805 w 1003403"/>
                <a:gd name="connsiteY434" fmla="*/ 288904 h 392516"/>
                <a:gd name="connsiteX435" fmla="*/ 221290 w 1003403"/>
                <a:gd name="connsiteY435" fmla="*/ 282705 h 392516"/>
                <a:gd name="connsiteX436" fmla="*/ 155238 w 1003403"/>
                <a:gd name="connsiteY436" fmla="*/ 284103 h 392516"/>
                <a:gd name="connsiteX437" fmla="*/ 78360 w 1003403"/>
                <a:gd name="connsiteY437" fmla="*/ 297960 h 392516"/>
                <a:gd name="connsiteX438" fmla="*/ 30777 w 1003403"/>
                <a:gd name="connsiteY438" fmla="*/ 320855 h 392516"/>
                <a:gd name="connsiteX439" fmla="*/ 22392 w 1003403"/>
                <a:gd name="connsiteY439" fmla="*/ 322451 h 392516"/>
                <a:gd name="connsiteX440" fmla="*/ 13608 w 1003403"/>
                <a:gd name="connsiteY440" fmla="*/ 321651 h 392516"/>
                <a:gd name="connsiteX441" fmla="*/ 5623 w 1003403"/>
                <a:gd name="connsiteY441" fmla="*/ 318455 h 392516"/>
                <a:gd name="connsiteX442" fmla="*/ 831 w 1003403"/>
                <a:gd name="connsiteY442" fmla="*/ 312067 h 392516"/>
                <a:gd name="connsiteX443" fmla="*/ 1630 w 1003403"/>
                <a:gd name="connsiteY443" fmla="*/ 300888 h 392516"/>
                <a:gd name="connsiteX444" fmla="*/ 10015 w 1003403"/>
                <a:gd name="connsiteY444" fmla="*/ 293701 h 392516"/>
                <a:gd name="connsiteX445" fmla="*/ 27583 w 1003403"/>
                <a:gd name="connsiteY445" fmla="*/ 287713 h 392516"/>
                <a:gd name="connsiteX446" fmla="*/ 44752 w 1003403"/>
                <a:gd name="connsiteY446" fmla="*/ 282522 h 392516"/>
                <a:gd name="connsiteX447" fmla="*/ 49544 w 1003403"/>
                <a:gd name="connsiteY447" fmla="*/ 277332 h 392516"/>
                <a:gd name="connsiteX448" fmla="*/ 106515 w 1003403"/>
                <a:gd name="connsiteY448" fmla="*/ 138678 h 392516"/>
                <a:gd name="connsiteX449" fmla="*/ 162984 w 1003403"/>
                <a:gd name="connsiteY449" fmla="*/ 29427 h 392516"/>
                <a:gd name="connsiteX450" fmla="*/ 174747 w 1003403"/>
                <a:gd name="connsiteY450" fmla="*/ 57 h 392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</a:cxnLst>
              <a:rect l="l" t="t" r="r" b="b"/>
              <a:pathLst>
                <a:path w="1003403" h="392516">
                  <a:moveTo>
                    <a:pt x="304496" y="253490"/>
                  </a:moveTo>
                  <a:cubicBezTo>
                    <a:pt x="298533" y="260030"/>
                    <a:pt x="292473" y="266571"/>
                    <a:pt x="286317" y="273111"/>
                  </a:cubicBezTo>
                  <a:lnTo>
                    <a:pt x="279024" y="281887"/>
                  </a:lnTo>
                  <a:lnTo>
                    <a:pt x="281526" y="282927"/>
                  </a:lnTo>
                  <a:cubicBezTo>
                    <a:pt x="282591" y="283724"/>
                    <a:pt x="283655" y="284922"/>
                    <a:pt x="284720" y="286519"/>
                  </a:cubicBezTo>
                  <a:cubicBezTo>
                    <a:pt x="285785" y="287849"/>
                    <a:pt x="286584" y="289446"/>
                    <a:pt x="287116" y="291310"/>
                  </a:cubicBezTo>
                  <a:cubicBezTo>
                    <a:pt x="287649" y="292907"/>
                    <a:pt x="287649" y="294371"/>
                    <a:pt x="287116" y="295701"/>
                  </a:cubicBezTo>
                  <a:cubicBezTo>
                    <a:pt x="286850" y="297032"/>
                    <a:pt x="285785" y="297830"/>
                    <a:pt x="283922" y="298097"/>
                  </a:cubicBezTo>
                  <a:lnTo>
                    <a:pt x="269194" y="293745"/>
                  </a:lnTo>
                  <a:lnTo>
                    <a:pt x="254864" y="315239"/>
                  </a:lnTo>
                  <a:cubicBezTo>
                    <a:pt x="250439" y="322934"/>
                    <a:pt x="246784" y="331013"/>
                    <a:pt x="243898" y="339477"/>
                  </a:cubicBezTo>
                  <a:cubicBezTo>
                    <a:pt x="242167" y="345056"/>
                    <a:pt x="241013" y="350346"/>
                    <a:pt x="240436" y="355347"/>
                  </a:cubicBezTo>
                  <a:cubicBezTo>
                    <a:pt x="239666" y="360541"/>
                    <a:pt x="239955" y="365831"/>
                    <a:pt x="241302" y="371217"/>
                  </a:cubicBezTo>
                  <a:cubicBezTo>
                    <a:pt x="245149" y="369294"/>
                    <a:pt x="248996" y="365927"/>
                    <a:pt x="252844" y="361118"/>
                  </a:cubicBezTo>
                  <a:cubicBezTo>
                    <a:pt x="256691" y="356309"/>
                    <a:pt x="260250" y="351019"/>
                    <a:pt x="263521" y="345248"/>
                  </a:cubicBezTo>
                  <a:cubicBezTo>
                    <a:pt x="266983" y="339477"/>
                    <a:pt x="270061" y="333802"/>
                    <a:pt x="272755" y="328224"/>
                  </a:cubicBezTo>
                  <a:cubicBezTo>
                    <a:pt x="275448" y="322838"/>
                    <a:pt x="277660" y="318413"/>
                    <a:pt x="279392" y="314951"/>
                  </a:cubicBezTo>
                  <a:cubicBezTo>
                    <a:pt x="280738" y="312258"/>
                    <a:pt x="282758" y="307929"/>
                    <a:pt x="285451" y="301966"/>
                  </a:cubicBezTo>
                  <a:cubicBezTo>
                    <a:pt x="288337" y="296195"/>
                    <a:pt x="291126" y="290039"/>
                    <a:pt x="293820" y="283499"/>
                  </a:cubicBezTo>
                  <a:cubicBezTo>
                    <a:pt x="296705" y="277151"/>
                    <a:pt x="299206" y="271092"/>
                    <a:pt x="301322" y="265321"/>
                  </a:cubicBezTo>
                  <a:cubicBezTo>
                    <a:pt x="303438" y="259742"/>
                    <a:pt x="304496" y="255798"/>
                    <a:pt x="304496" y="253490"/>
                  </a:cubicBezTo>
                  <a:close/>
                  <a:moveTo>
                    <a:pt x="916531" y="250893"/>
                  </a:moveTo>
                  <a:cubicBezTo>
                    <a:pt x="911529" y="256279"/>
                    <a:pt x="906047" y="262723"/>
                    <a:pt x="900083" y="270225"/>
                  </a:cubicBezTo>
                  <a:cubicBezTo>
                    <a:pt x="894119" y="277920"/>
                    <a:pt x="888252" y="285903"/>
                    <a:pt x="882481" y="294174"/>
                  </a:cubicBezTo>
                  <a:cubicBezTo>
                    <a:pt x="876710" y="302639"/>
                    <a:pt x="871323" y="311199"/>
                    <a:pt x="866321" y="319855"/>
                  </a:cubicBezTo>
                  <a:cubicBezTo>
                    <a:pt x="861127" y="328512"/>
                    <a:pt x="856895" y="336591"/>
                    <a:pt x="853625" y="344093"/>
                  </a:cubicBezTo>
                  <a:cubicBezTo>
                    <a:pt x="850162" y="351595"/>
                    <a:pt x="847949" y="358136"/>
                    <a:pt x="846988" y="363714"/>
                  </a:cubicBezTo>
                  <a:cubicBezTo>
                    <a:pt x="845833" y="369485"/>
                    <a:pt x="846411" y="373525"/>
                    <a:pt x="848719" y="375833"/>
                  </a:cubicBezTo>
                  <a:cubicBezTo>
                    <a:pt x="850835" y="376602"/>
                    <a:pt x="853913" y="374486"/>
                    <a:pt x="857953" y="369485"/>
                  </a:cubicBezTo>
                  <a:cubicBezTo>
                    <a:pt x="861993" y="364676"/>
                    <a:pt x="866514" y="358136"/>
                    <a:pt x="871516" y="349864"/>
                  </a:cubicBezTo>
                  <a:cubicBezTo>
                    <a:pt x="876517" y="341785"/>
                    <a:pt x="881615" y="332647"/>
                    <a:pt x="886809" y="322452"/>
                  </a:cubicBezTo>
                  <a:cubicBezTo>
                    <a:pt x="892003" y="312449"/>
                    <a:pt x="896716" y="302639"/>
                    <a:pt x="900949" y="293020"/>
                  </a:cubicBezTo>
                  <a:cubicBezTo>
                    <a:pt x="905373" y="283595"/>
                    <a:pt x="909028" y="275034"/>
                    <a:pt x="911914" y="267340"/>
                  </a:cubicBezTo>
                  <a:cubicBezTo>
                    <a:pt x="914800" y="259645"/>
                    <a:pt x="916339" y="254163"/>
                    <a:pt x="916531" y="250893"/>
                  </a:cubicBezTo>
                  <a:close/>
                  <a:moveTo>
                    <a:pt x="584688" y="177599"/>
                  </a:moveTo>
                  <a:cubicBezTo>
                    <a:pt x="580071" y="178947"/>
                    <a:pt x="575646" y="181351"/>
                    <a:pt x="571414" y="184813"/>
                  </a:cubicBezTo>
                  <a:cubicBezTo>
                    <a:pt x="567374" y="188083"/>
                    <a:pt x="563911" y="191931"/>
                    <a:pt x="561026" y="196355"/>
                  </a:cubicBezTo>
                  <a:cubicBezTo>
                    <a:pt x="558333" y="200587"/>
                    <a:pt x="556986" y="204434"/>
                    <a:pt x="556986" y="207897"/>
                  </a:cubicBezTo>
                  <a:lnTo>
                    <a:pt x="556985" y="207899"/>
                  </a:lnTo>
                  <a:lnTo>
                    <a:pt x="557563" y="208764"/>
                  </a:lnTo>
                  <a:cubicBezTo>
                    <a:pt x="564104" y="203570"/>
                    <a:pt x="570644" y="198472"/>
                    <a:pt x="577185" y="193471"/>
                  </a:cubicBezTo>
                  <a:cubicBezTo>
                    <a:pt x="583918" y="188277"/>
                    <a:pt x="590844" y="183179"/>
                    <a:pt x="597962" y="178178"/>
                  </a:cubicBezTo>
                  <a:cubicBezTo>
                    <a:pt x="593922" y="176254"/>
                    <a:pt x="589497" y="176061"/>
                    <a:pt x="584688" y="177599"/>
                  </a:cubicBezTo>
                  <a:close/>
                  <a:moveTo>
                    <a:pt x="406358" y="164328"/>
                  </a:moveTo>
                  <a:cubicBezTo>
                    <a:pt x="401164" y="166252"/>
                    <a:pt x="397028" y="168753"/>
                    <a:pt x="393950" y="171831"/>
                  </a:cubicBezTo>
                  <a:cubicBezTo>
                    <a:pt x="391064" y="174909"/>
                    <a:pt x="388948" y="179429"/>
                    <a:pt x="387601" y="185392"/>
                  </a:cubicBezTo>
                  <a:cubicBezTo>
                    <a:pt x="391833" y="182315"/>
                    <a:pt x="395585" y="179237"/>
                    <a:pt x="398855" y="176159"/>
                  </a:cubicBezTo>
                  <a:cubicBezTo>
                    <a:pt x="402318" y="172889"/>
                    <a:pt x="404819" y="168945"/>
                    <a:pt x="406358" y="164328"/>
                  </a:cubicBezTo>
                  <a:close/>
                  <a:moveTo>
                    <a:pt x="212157" y="164328"/>
                  </a:moveTo>
                  <a:cubicBezTo>
                    <a:pt x="206963" y="166252"/>
                    <a:pt x="202827" y="168753"/>
                    <a:pt x="199749" y="171831"/>
                  </a:cubicBezTo>
                  <a:cubicBezTo>
                    <a:pt x="196863" y="174909"/>
                    <a:pt x="194747" y="179429"/>
                    <a:pt x="193401" y="185392"/>
                  </a:cubicBezTo>
                  <a:cubicBezTo>
                    <a:pt x="197633" y="182315"/>
                    <a:pt x="201384" y="179237"/>
                    <a:pt x="204655" y="176159"/>
                  </a:cubicBezTo>
                  <a:cubicBezTo>
                    <a:pt x="208117" y="172889"/>
                    <a:pt x="210618" y="168945"/>
                    <a:pt x="212157" y="164328"/>
                  </a:cubicBezTo>
                  <a:close/>
                  <a:moveTo>
                    <a:pt x="937885" y="158846"/>
                  </a:moveTo>
                  <a:cubicBezTo>
                    <a:pt x="939424" y="158846"/>
                    <a:pt x="940963" y="159231"/>
                    <a:pt x="942502" y="159999"/>
                  </a:cubicBezTo>
                  <a:cubicBezTo>
                    <a:pt x="944041" y="160768"/>
                    <a:pt x="945484" y="161826"/>
                    <a:pt x="946831" y="163173"/>
                  </a:cubicBezTo>
                  <a:cubicBezTo>
                    <a:pt x="948177" y="164328"/>
                    <a:pt x="949043" y="165674"/>
                    <a:pt x="949428" y="167213"/>
                  </a:cubicBezTo>
                  <a:cubicBezTo>
                    <a:pt x="951159" y="173946"/>
                    <a:pt x="951736" y="181256"/>
                    <a:pt x="951159" y="189143"/>
                  </a:cubicBezTo>
                  <a:cubicBezTo>
                    <a:pt x="950582" y="196837"/>
                    <a:pt x="949524" y="204147"/>
                    <a:pt x="947985" y="211072"/>
                  </a:cubicBezTo>
                  <a:cubicBezTo>
                    <a:pt x="955103" y="205493"/>
                    <a:pt x="962028" y="200492"/>
                    <a:pt x="968761" y="196068"/>
                  </a:cubicBezTo>
                  <a:cubicBezTo>
                    <a:pt x="975687" y="191643"/>
                    <a:pt x="983093" y="187700"/>
                    <a:pt x="990981" y="184237"/>
                  </a:cubicBezTo>
                  <a:cubicBezTo>
                    <a:pt x="991750" y="183659"/>
                    <a:pt x="993193" y="183275"/>
                    <a:pt x="995309" y="183084"/>
                  </a:cubicBezTo>
                  <a:cubicBezTo>
                    <a:pt x="997617" y="182699"/>
                    <a:pt x="999541" y="182602"/>
                    <a:pt x="1001080" y="182795"/>
                  </a:cubicBezTo>
                  <a:cubicBezTo>
                    <a:pt x="1002619" y="182988"/>
                    <a:pt x="1003389" y="183661"/>
                    <a:pt x="1003389" y="184815"/>
                  </a:cubicBezTo>
                  <a:cubicBezTo>
                    <a:pt x="1003581" y="185777"/>
                    <a:pt x="1001850" y="187412"/>
                    <a:pt x="998195" y="189720"/>
                  </a:cubicBezTo>
                  <a:cubicBezTo>
                    <a:pt x="989345" y="195299"/>
                    <a:pt x="980400" y="201647"/>
                    <a:pt x="971358" y="208764"/>
                  </a:cubicBezTo>
                  <a:cubicBezTo>
                    <a:pt x="962317" y="215882"/>
                    <a:pt x="953852" y="222615"/>
                    <a:pt x="945965" y="228963"/>
                  </a:cubicBezTo>
                  <a:cubicBezTo>
                    <a:pt x="944618" y="229924"/>
                    <a:pt x="943753" y="231463"/>
                    <a:pt x="943368" y="233580"/>
                  </a:cubicBezTo>
                  <a:cubicBezTo>
                    <a:pt x="941829" y="244352"/>
                    <a:pt x="939136" y="256279"/>
                    <a:pt x="935288" y="269359"/>
                  </a:cubicBezTo>
                  <a:cubicBezTo>
                    <a:pt x="931441" y="282440"/>
                    <a:pt x="926728" y="295617"/>
                    <a:pt x="921149" y="308890"/>
                  </a:cubicBezTo>
                  <a:cubicBezTo>
                    <a:pt x="915762" y="322163"/>
                    <a:pt x="909606" y="334763"/>
                    <a:pt x="902681" y="346690"/>
                  </a:cubicBezTo>
                  <a:cubicBezTo>
                    <a:pt x="895948" y="358809"/>
                    <a:pt x="888830" y="369197"/>
                    <a:pt x="881327" y="377853"/>
                  </a:cubicBezTo>
                  <a:cubicBezTo>
                    <a:pt x="876518" y="383432"/>
                    <a:pt x="871420" y="387279"/>
                    <a:pt x="866033" y="389395"/>
                  </a:cubicBezTo>
                  <a:cubicBezTo>
                    <a:pt x="860647" y="391703"/>
                    <a:pt x="855741" y="392280"/>
                    <a:pt x="851317" y="391126"/>
                  </a:cubicBezTo>
                  <a:cubicBezTo>
                    <a:pt x="846700" y="389972"/>
                    <a:pt x="842949" y="387087"/>
                    <a:pt x="840063" y="382470"/>
                  </a:cubicBezTo>
                  <a:cubicBezTo>
                    <a:pt x="836985" y="378045"/>
                    <a:pt x="835350" y="371890"/>
                    <a:pt x="835157" y="364003"/>
                  </a:cubicBezTo>
                  <a:cubicBezTo>
                    <a:pt x="837658" y="352076"/>
                    <a:pt x="841698" y="340438"/>
                    <a:pt x="847277" y="329088"/>
                  </a:cubicBezTo>
                  <a:cubicBezTo>
                    <a:pt x="852856" y="317931"/>
                    <a:pt x="859589" y="306871"/>
                    <a:pt x="867476" y="295906"/>
                  </a:cubicBezTo>
                  <a:cubicBezTo>
                    <a:pt x="875171" y="285133"/>
                    <a:pt x="883732" y="274265"/>
                    <a:pt x="893158" y="263300"/>
                  </a:cubicBezTo>
                  <a:cubicBezTo>
                    <a:pt x="902585" y="252527"/>
                    <a:pt x="912492" y="241563"/>
                    <a:pt x="922880" y="230405"/>
                  </a:cubicBezTo>
                  <a:cubicBezTo>
                    <a:pt x="924227" y="229444"/>
                    <a:pt x="925477" y="227232"/>
                    <a:pt x="926631" y="223769"/>
                  </a:cubicBezTo>
                  <a:cubicBezTo>
                    <a:pt x="927786" y="220114"/>
                    <a:pt x="928747" y="216267"/>
                    <a:pt x="929517" y="212227"/>
                  </a:cubicBezTo>
                  <a:cubicBezTo>
                    <a:pt x="930286" y="208187"/>
                    <a:pt x="930767" y="204436"/>
                    <a:pt x="930960" y="200974"/>
                  </a:cubicBezTo>
                  <a:cubicBezTo>
                    <a:pt x="931345" y="197319"/>
                    <a:pt x="931345" y="195107"/>
                    <a:pt x="930960" y="194337"/>
                  </a:cubicBezTo>
                  <a:cubicBezTo>
                    <a:pt x="929036" y="197800"/>
                    <a:pt x="926920" y="201936"/>
                    <a:pt x="924612" y="206745"/>
                  </a:cubicBezTo>
                  <a:cubicBezTo>
                    <a:pt x="922303" y="211361"/>
                    <a:pt x="919898" y="215882"/>
                    <a:pt x="917397" y="220307"/>
                  </a:cubicBezTo>
                  <a:cubicBezTo>
                    <a:pt x="914897" y="224539"/>
                    <a:pt x="912396" y="228290"/>
                    <a:pt x="909895" y="231560"/>
                  </a:cubicBezTo>
                  <a:cubicBezTo>
                    <a:pt x="907394" y="234638"/>
                    <a:pt x="904989" y="236273"/>
                    <a:pt x="902681" y="236465"/>
                  </a:cubicBezTo>
                  <a:lnTo>
                    <a:pt x="902680" y="236465"/>
                  </a:lnTo>
                  <a:cubicBezTo>
                    <a:pt x="897679" y="237427"/>
                    <a:pt x="892965" y="236657"/>
                    <a:pt x="888541" y="234156"/>
                  </a:cubicBezTo>
                  <a:cubicBezTo>
                    <a:pt x="884308" y="231655"/>
                    <a:pt x="881711" y="227904"/>
                    <a:pt x="880749" y="222902"/>
                  </a:cubicBezTo>
                  <a:cubicBezTo>
                    <a:pt x="879980" y="218670"/>
                    <a:pt x="879595" y="213861"/>
                    <a:pt x="879595" y="208475"/>
                  </a:cubicBezTo>
                  <a:cubicBezTo>
                    <a:pt x="879595" y="203089"/>
                    <a:pt x="879884" y="197703"/>
                    <a:pt x="880461" y="192316"/>
                  </a:cubicBezTo>
                  <a:cubicBezTo>
                    <a:pt x="881038" y="186738"/>
                    <a:pt x="881808" y="181352"/>
                    <a:pt x="882769" y="176158"/>
                  </a:cubicBezTo>
                  <a:cubicBezTo>
                    <a:pt x="883924" y="170964"/>
                    <a:pt x="885078" y="166347"/>
                    <a:pt x="886232" y="162308"/>
                  </a:cubicBezTo>
                  <a:cubicBezTo>
                    <a:pt x="887194" y="160577"/>
                    <a:pt x="888637" y="159712"/>
                    <a:pt x="890561" y="159712"/>
                  </a:cubicBezTo>
                  <a:cubicBezTo>
                    <a:pt x="892677" y="159712"/>
                    <a:pt x="894793" y="160193"/>
                    <a:pt x="896909" y="161154"/>
                  </a:cubicBezTo>
                  <a:cubicBezTo>
                    <a:pt x="899218" y="161923"/>
                    <a:pt x="901141" y="162981"/>
                    <a:pt x="902680" y="164328"/>
                  </a:cubicBezTo>
                  <a:cubicBezTo>
                    <a:pt x="904412" y="165675"/>
                    <a:pt x="905470" y="167022"/>
                    <a:pt x="905854" y="168368"/>
                  </a:cubicBezTo>
                  <a:cubicBezTo>
                    <a:pt x="906432" y="170869"/>
                    <a:pt x="905854" y="174909"/>
                    <a:pt x="904123" y="180487"/>
                  </a:cubicBezTo>
                  <a:cubicBezTo>
                    <a:pt x="902584" y="185873"/>
                    <a:pt x="900853" y="191548"/>
                    <a:pt x="898929" y="197511"/>
                  </a:cubicBezTo>
                  <a:cubicBezTo>
                    <a:pt x="897005" y="203475"/>
                    <a:pt x="895466" y="209053"/>
                    <a:pt x="894312" y="214247"/>
                  </a:cubicBezTo>
                  <a:cubicBezTo>
                    <a:pt x="893158" y="219248"/>
                    <a:pt x="893350" y="222422"/>
                    <a:pt x="894890" y="223769"/>
                  </a:cubicBezTo>
                  <a:cubicBezTo>
                    <a:pt x="896236" y="225116"/>
                    <a:pt x="897967" y="224827"/>
                    <a:pt x="900084" y="222902"/>
                  </a:cubicBezTo>
                  <a:cubicBezTo>
                    <a:pt x="902392" y="220786"/>
                    <a:pt x="904797" y="217804"/>
                    <a:pt x="907298" y="213957"/>
                  </a:cubicBezTo>
                  <a:cubicBezTo>
                    <a:pt x="909798" y="209917"/>
                    <a:pt x="912396" y="205301"/>
                    <a:pt x="915089" y="200107"/>
                  </a:cubicBezTo>
                  <a:cubicBezTo>
                    <a:pt x="917782" y="194721"/>
                    <a:pt x="920379" y="189431"/>
                    <a:pt x="922880" y="184237"/>
                  </a:cubicBezTo>
                  <a:cubicBezTo>
                    <a:pt x="925573" y="179043"/>
                    <a:pt x="927978" y="174234"/>
                    <a:pt x="930094" y="169809"/>
                  </a:cubicBezTo>
                  <a:cubicBezTo>
                    <a:pt x="932210" y="165385"/>
                    <a:pt x="933942" y="162019"/>
                    <a:pt x="935288" y="159710"/>
                  </a:cubicBezTo>
                  <a:cubicBezTo>
                    <a:pt x="935673" y="158942"/>
                    <a:pt x="936539" y="158653"/>
                    <a:pt x="937885" y="158846"/>
                  </a:cubicBezTo>
                  <a:close/>
                  <a:moveTo>
                    <a:pt x="686550" y="63914"/>
                  </a:moveTo>
                  <a:cubicBezTo>
                    <a:pt x="674430" y="82573"/>
                    <a:pt x="663657" y="101714"/>
                    <a:pt x="654231" y="121335"/>
                  </a:cubicBezTo>
                  <a:cubicBezTo>
                    <a:pt x="644805" y="140956"/>
                    <a:pt x="636532" y="161251"/>
                    <a:pt x="629415" y="182219"/>
                  </a:cubicBezTo>
                  <a:cubicBezTo>
                    <a:pt x="633839" y="174140"/>
                    <a:pt x="639033" y="164906"/>
                    <a:pt x="644997" y="154518"/>
                  </a:cubicBezTo>
                  <a:cubicBezTo>
                    <a:pt x="651153" y="144130"/>
                    <a:pt x="657116" y="133550"/>
                    <a:pt x="662888" y="122778"/>
                  </a:cubicBezTo>
                  <a:cubicBezTo>
                    <a:pt x="668659" y="111813"/>
                    <a:pt x="673757" y="101233"/>
                    <a:pt x="678181" y="91037"/>
                  </a:cubicBezTo>
                  <a:cubicBezTo>
                    <a:pt x="682606" y="80650"/>
                    <a:pt x="685395" y="71609"/>
                    <a:pt x="686550" y="63914"/>
                  </a:cubicBezTo>
                  <a:close/>
                  <a:moveTo>
                    <a:pt x="174747" y="57"/>
                  </a:moveTo>
                  <a:cubicBezTo>
                    <a:pt x="180464" y="-899"/>
                    <a:pt x="178674" y="10261"/>
                    <a:pt x="180907" y="15020"/>
                  </a:cubicBezTo>
                  <a:cubicBezTo>
                    <a:pt x="183140" y="19779"/>
                    <a:pt x="186497" y="23272"/>
                    <a:pt x="188094" y="28595"/>
                  </a:cubicBezTo>
                  <a:cubicBezTo>
                    <a:pt x="189691" y="33652"/>
                    <a:pt x="190090" y="38576"/>
                    <a:pt x="189292" y="43367"/>
                  </a:cubicBezTo>
                  <a:cubicBezTo>
                    <a:pt x="189026" y="44431"/>
                    <a:pt x="188493" y="45363"/>
                    <a:pt x="187695" y="46163"/>
                  </a:cubicBezTo>
                  <a:cubicBezTo>
                    <a:pt x="187162" y="46696"/>
                    <a:pt x="186630" y="47495"/>
                    <a:pt x="186098" y="48558"/>
                  </a:cubicBezTo>
                  <a:cubicBezTo>
                    <a:pt x="177580" y="63464"/>
                    <a:pt x="168396" y="79834"/>
                    <a:pt x="158547" y="97668"/>
                  </a:cubicBezTo>
                  <a:cubicBezTo>
                    <a:pt x="148698" y="115501"/>
                    <a:pt x="137045" y="130145"/>
                    <a:pt x="127462" y="149575"/>
                  </a:cubicBezTo>
                  <a:cubicBezTo>
                    <a:pt x="117879" y="168740"/>
                    <a:pt x="108639" y="193015"/>
                    <a:pt x="99855" y="212712"/>
                  </a:cubicBezTo>
                  <a:cubicBezTo>
                    <a:pt x="91337" y="232408"/>
                    <a:pt x="86144" y="250718"/>
                    <a:pt x="80288" y="269350"/>
                  </a:cubicBezTo>
                  <a:lnTo>
                    <a:pt x="79090" y="275739"/>
                  </a:lnTo>
                  <a:cubicBezTo>
                    <a:pt x="94529" y="272811"/>
                    <a:pt x="111299" y="269750"/>
                    <a:pt x="129400" y="266556"/>
                  </a:cubicBezTo>
                  <a:cubicBezTo>
                    <a:pt x="147501" y="263361"/>
                    <a:pt x="165601" y="261365"/>
                    <a:pt x="183702" y="260567"/>
                  </a:cubicBezTo>
                  <a:cubicBezTo>
                    <a:pt x="202069" y="259769"/>
                    <a:pt x="219637" y="260968"/>
                    <a:pt x="236407" y="264162"/>
                  </a:cubicBezTo>
                  <a:lnTo>
                    <a:pt x="266495" y="276676"/>
                  </a:lnTo>
                  <a:lnTo>
                    <a:pt x="269292" y="272826"/>
                  </a:lnTo>
                  <a:cubicBezTo>
                    <a:pt x="276602" y="264169"/>
                    <a:pt x="284297" y="255897"/>
                    <a:pt x="292377" y="248011"/>
                  </a:cubicBezTo>
                  <a:cubicBezTo>
                    <a:pt x="300457" y="240316"/>
                    <a:pt x="308729" y="232814"/>
                    <a:pt x="317193" y="225504"/>
                  </a:cubicBezTo>
                  <a:cubicBezTo>
                    <a:pt x="317963" y="224735"/>
                    <a:pt x="318636" y="223100"/>
                    <a:pt x="319213" y="220598"/>
                  </a:cubicBezTo>
                  <a:cubicBezTo>
                    <a:pt x="319982" y="217905"/>
                    <a:pt x="320463" y="215404"/>
                    <a:pt x="320656" y="213096"/>
                  </a:cubicBezTo>
                  <a:cubicBezTo>
                    <a:pt x="321041" y="210596"/>
                    <a:pt x="321041" y="208672"/>
                    <a:pt x="320656" y="207325"/>
                  </a:cubicBezTo>
                  <a:cubicBezTo>
                    <a:pt x="320271" y="205786"/>
                    <a:pt x="319309" y="205786"/>
                    <a:pt x="317770" y="207325"/>
                  </a:cubicBezTo>
                  <a:cubicBezTo>
                    <a:pt x="313923" y="210403"/>
                    <a:pt x="309787" y="213481"/>
                    <a:pt x="305362" y="216559"/>
                  </a:cubicBezTo>
                  <a:cubicBezTo>
                    <a:pt x="301130" y="219637"/>
                    <a:pt x="296705" y="222330"/>
                    <a:pt x="292088" y="224638"/>
                  </a:cubicBezTo>
                  <a:cubicBezTo>
                    <a:pt x="287471" y="226947"/>
                    <a:pt x="282758" y="228774"/>
                    <a:pt x="277949" y="230121"/>
                  </a:cubicBezTo>
                  <a:cubicBezTo>
                    <a:pt x="273139" y="231467"/>
                    <a:pt x="268330" y="231852"/>
                    <a:pt x="263521" y="231274"/>
                  </a:cubicBezTo>
                  <a:cubicBezTo>
                    <a:pt x="259096" y="230505"/>
                    <a:pt x="255633" y="228966"/>
                    <a:pt x="253132" y="226657"/>
                  </a:cubicBezTo>
                  <a:cubicBezTo>
                    <a:pt x="250632" y="224157"/>
                    <a:pt x="248900" y="221367"/>
                    <a:pt x="247938" y="218289"/>
                  </a:cubicBezTo>
                  <a:lnTo>
                    <a:pt x="246307" y="208502"/>
                  </a:lnTo>
                  <a:lnTo>
                    <a:pt x="236685" y="218864"/>
                  </a:lnTo>
                  <a:cubicBezTo>
                    <a:pt x="232838" y="223096"/>
                    <a:pt x="228702" y="227039"/>
                    <a:pt x="224277" y="230694"/>
                  </a:cubicBezTo>
                  <a:cubicBezTo>
                    <a:pt x="220045" y="234157"/>
                    <a:pt x="215524" y="237235"/>
                    <a:pt x="210715" y="239928"/>
                  </a:cubicBezTo>
                  <a:cubicBezTo>
                    <a:pt x="206098" y="242429"/>
                    <a:pt x="201288" y="244064"/>
                    <a:pt x="196287" y="244833"/>
                  </a:cubicBezTo>
                  <a:cubicBezTo>
                    <a:pt x="187437" y="245409"/>
                    <a:pt x="180127" y="243582"/>
                    <a:pt x="174356" y="239351"/>
                  </a:cubicBezTo>
                  <a:cubicBezTo>
                    <a:pt x="168777" y="235119"/>
                    <a:pt x="165988" y="228193"/>
                    <a:pt x="165988" y="218575"/>
                  </a:cubicBezTo>
                  <a:lnTo>
                    <a:pt x="165987" y="218576"/>
                  </a:lnTo>
                  <a:cubicBezTo>
                    <a:pt x="165603" y="211266"/>
                    <a:pt x="166372" y="203667"/>
                    <a:pt x="168296" y="195780"/>
                  </a:cubicBezTo>
                  <a:cubicBezTo>
                    <a:pt x="170220" y="187893"/>
                    <a:pt x="173105" y="180680"/>
                    <a:pt x="176953" y="174139"/>
                  </a:cubicBezTo>
                  <a:cubicBezTo>
                    <a:pt x="180800" y="167406"/>
                    <a:pt x="185610" y="161924"/>
                    <a:pt x="191381" y="157691"/>
                  </a:cubicBezTo>
                  <a:cubicBezTo>
                    <a:pt x="197345" y="153459"/>
                    <a:pt x="204270" y="151247"/>
                    <a:pt x="212157" y="151055"/>
                  </a:cubicBezTo>
                  <a:cubicBezTo>
                    <a:pt x="216197" y="152016"/>
                    <a:pt x="219275" y="154036"/>
                    <a:pt x="221391" y="157114"/>
                  </a:cubicBezTo>
                  <a:cubicBezTo>
                    <a:pt x="223700" y="160193"/>
                    <a:pt x="224373" y="163944"/>
                    <a:pt x="223411" y="168368"/>
                  </a:cubicBezTo>
                  <a:cubicBezTo>
                    <a:pt x="222642" y="172600"/>
                    <a:pt x="221487" y="176255"/>
                    <a:pt x="219948" y="179333"/>
                  </a:cubicBezTo>
                  <a:cubicBezTo>
                    <a:pt x="218602" y="182218"/>
                    <a:pt x="216197" y="185296"/>
                    <a:pt x="212734" y="188567"/>
                  </a:cubicBezTo>
                  <a:cubicBezTo>
                    <a:pt x="211003" y="190106"/>
                    <a:pt x="208598" y="192126"/>
                    <a:pt x="205520" y="194626"/>
                  </a:cubicBezTo>
                  <a:cubicBezTo>
                    <a:pt x="202442" y="197127"/>
                    <a:pt x="199460" y="199724"/>
                    <a:pt x="196575" y="202417"/>
                  </a:cubicBezTo>
                  <a:cubicBezTo>
                    <a:pt x="193689" y="205110"/>
                    <a:pt x="191188" y="207899"/>
                    <a:pt x="189072" y="210785"/>
                  </a:cubicBezTo>
                  <a:cubicBezTo>
                    <a:pt x="186956" y="213478"/>
                    <a:pt x="185898" y="215786"/>
                    <a:pt x="185898" y="217710"/>
                  </a:cubicBezTo>
                  <a:cubicBezTo>
                    <a:pt x="185321" y="222711"/>
                    <a:pt x="186090" y="225982"/>
                    <a:pt x="188207" y="227521"/>
                  </a:cubicBezTo>
                  <a:cubicBezTo>
                    <a:pt x="190323" y="228867"/>
                    <a:pt x="193016" y="229444"/>
                    <a:pt x="196287" y="229252"/>
                  </a:cubicBezTo>
                  <a:cubicBezTo>
                    <a:pt x="199749" y="228866"/>
                    <a:pt x="203212" y="227905"/>
                    <a:pt x="206675" y="226366"/>
                  </a:cubicBezTo>
                  <a:cubicBezTo>
                    <a:pt x="210137" y="224827"/>
                    <a:pt x="212927" y="223480"/>
                    <a:pt x="215043" y="222327"/>
                  </a:cubicBezTo>
                  <a:cubicBezTo>
                    <a:pt x="217544" y="220596"/>
                    <a:pt x="220333" y="218480"/>
                    <a:pt x="223411" y="215979"/>
                  </a:cubicBezTo>
                  <a:cubicBezTo>
                    <a:pt x="226489" y="213286"/>
                    <a:pt x="229567" y="210496"/>
                    <a:pt x="232645" y="207611"/>
                  </a:cubicBezTo>
                  <a:cubicBezTo>
                    <a:pt x="235723" y="204725"/>
                    <a:pt x="238705" y="201936"/>
                    <a:pt x="241591" y="199243"/>
                  </a:cubicBezTo>
                  <a:cubicBezTo>
                    <a:pt x="244476" y="196550"/>
                    <a:pt x="246881" y="194338"/>
                    <a:pt x="248805" y="192606"/>
                  </a:cubicBezTo>
                  <a:lnTo>
                    <a:pt x="250575" y="190710"/>
                  </a:lnTo>
                  <a:lnTo>
                    <a:pt x="256595" y="177893"/>
                  </a:lnTo>
                  <a:cubicBezTo>
                    <a:pt x="260827" y="172314"/>
                    <a:pt x="266502" y="168467"/>
                    <a:pt x="273620" y="166351"/>
                  </a:cubicBezTo>
                  <a:cubicBezTo>
                    <a:pt x="284586" y="162888"/>
                    <a:pt x="295166" y="163272"/>
                    <a:pt x="305362" y="167504"/>
                  </a:cubicBezTo>
                  <a:cubicBezTo>
                    <a:pt x="307478" y="168465"/>
                    <a:pt x="309306" y="169427"/>
                    <a:pt x="310845" y="170389"/>
                  </a:cubicBezTo>
                  <a:cubicBezTo>
                    <a:pt x="312576" y="171351"/>
                    <a:pt x="313730" y="172794"/>
                    <a:pt x="314308" y="174717"/>
                  </a:cubicBezTo>
                  <a:cubicBezTo>
                    <a:pt x="316231" y="178949"/>
                    <a:pt x="314692" y="180777"/>
                    <a:pt x="309691" y="180200"/>
                  </a:cubicBezTo>
                  <a:cubicBezTo>
                    <a:pt x="307574" y="179814"/>
                    <a:pt x="305362" y="179526"/>
                    <a:pt x="303054" y="179335"/>
                  </a:cubicBezTo>
                  <a:cubicBezTo>
                    <a:pt x="300938" y="179143"/>
                    <a:pt x="298917" y="179046"/>
                    <a:pt x="296994" y="179046"/>
                  </a:cubicBezTo>
                  <a:cubicBezTo>
                    <a:pt x="291030" y="179046"/>
                    <a:pt x="285932" y="180586"/>
                    <a:pt x="281700" y="183663"/>
                  </a:cubicBezTo>
                  <a:cubicBezTo>
                    <a:pt x="277660" y="186549"/>
                    <a:pt x="274390" y="190011"/>
                    <a:pt x="271889" y="194051"/>
                  </a:cubicBezTo>
                  <a:cubicBezTo>
                    <a:pt x="269581" y="198091"/>
                    <a:pt x="268042" y="202130"/>
                    <a:pt x="267272" y="206170"/>
                  </a:cubicBezTo>
                  <a:lnTo>
                    <a:pt x="267272" y="215690"/>
                  </a:lnTo>
                  <a:cubicBezTo>
                    <a:pt x="268426" y="216844"/>
                    <a:pt x="270542" y="216556"/>
                    <a:pt x="273620" y="214826"/>
                  </a:cubicBezTo>
                  <a:cubicBezTo>
                    <a:pt x="276891" y="212902"/>
                    <a:pt x="280353" y="210498"/>
                    <a:pt x="284008" y="207612"/>
                  </a:cubicBezTo>
                  <a:cubicBezTo>
                    <a:pt x="287856" y="204727"/>
                    <a:pt x="291800" y="201745"/>
                    <a:pt x="295840" y="198667"/>
                  </a:cubicBezTo>
                  <a:cubicBezTo>
                    <a:pt x="299879" y="195397"/>
                    <a:pt x="303342" y="192896"/>
                    <a:pt x="306228" y="191165"/>
                  </a:cubicBezTo>
                  <a:cubicBezTo>
                    <a:pt x="307382" y="190396"/>
                    <a:pt x="309210" y="189434"/>
                    <a:pt x="311710" y="188280"/>
                  </a:cubicBezTo>
                  <a:cubicBezTo>
                    <a:pt x="314404" y="187125"/>
                    <a:pt x="317097" y="186260"/>
                    <a:pt x="319790" y="185684"/>
                  </a:cubicBezTo>
                  <a:cubicBezTo>
                    <a:pt x="322676" y="185106"/>
                    <a:pt x="325273" y="185010"/>
                    <a:pt x="327581" y="185395"/>
                  </a:cubicBezTo>
                  <a:cubicBezTo>
                    <a:pt x="329890" y="185781"/>
                    <a:pt x="331236" y="187127"/>
                    <a:pt x="331621" y="189435"/>
                  </a:cubicBezTo>
                  <a:cubicBezTo>
                    <a:pt x="332006" y="192897"/>
                    <a:pt x="332198" y="196360"/>
                    <a:pt x="332198" y="199822"/>
                  </a:cubicBezTo>
                  <a:cubicBezTo>
                    <a:pt x="332391" y="203285"/>
                    <a:pt x="332679" y="206940"/>
                    <a:pt x="333064" y="210787"/>
                  </a:cubicBezTo>
                  <a:lnTo>
                    <a:pt x="333064" y="213673"/>
                  </a:lnTo>
                  <a:cubicBezTo>
                    <a:pt x="336912" y="210787"/>
                    <a:pt x="340855" y="208094"/>
                    <a:pt x="344895" y="205594"/>
                  </a:cubicBezTo>
                  <a:cubicBezTo>
                    <a:pt x="349127" y="202900"/>
                    <a:pt x="353167" y="200400"/>
                    <a:pt x="357015" y="198091"/>
                  </a:cubicBezTo>
                  <a:lnTo>
                    <a:pt x="362912" y="194741"/>
                  </a:lnTo>
                  <a:lnTo>
                    <a:pt x="371153" y="174139"/>
                  </a:lnTo>
                  <a:cubicBezTo>
                    <a:pt x="375001" y="167406"/>
                    <a:pt x="379810" y="161924"/>
                    <a:pt x="385581" y="157691"/>
                  </a:cubicBezTo>
                  <a:cubicBezTo>
                    <a:pt x="391545" y="153459"/>
                    <a:pt x="398471" y="151247"/>
                    <a:pt x="406358" y="151055"/>
                  </a:cubicBezTo>
                  <a:cubicBezTo>
                    <a:pt x="410398" y="152016"/>
                    <a:pt x="413476" y="154036"/>
                    <a:pt x="415592" y="157114"/>
                  </a:cubicBezTo>
                  <a:cubicBezTo>
                    <a:pt x="417900" y="160193"/>
                    <a:pt x="418574" y="163944"/>
                    <a:pt x="417612" y="168368"/>
                  </a:cubicBezTo>
                  <a:cubicBezTo>
                    <a:pt x="416842" y="172600"/>
                    <a:pt x="415688" y="176255"/>
                    <a:pt x="414149" y="179333"/>
                  </a:cubicBezTo>
                  <a:cubicBezTo>
                    <a:pt x="412802" y="182218"/>
                    <a:pt x="410398" y="185296"/>
                    <a:pt x="406935" y="188567"/>
                  </a:cubicBezTo>
                  <a:cubicBezTo>
                    <a:pt x="405203" y="190106"/>
                    <a:pt x="402799" y="192126"/>
                    <a:pt x="399721" y="194626"/>
                  </a:cubicBezTo>
                  <a:cubicBezTo>
                    <a:pt x="396643" y="197127"/>
                    <a:pt x="393661" y="199724"/>
                    <a:pt x="390775" y="202417"/>
                  </a:cubicBezTo>
                  <a:cubicBezTo>
                    <a:pt x="387890" y="205110"/>
                    <a:pt x="385389" y="207899"/>
                    <a:pt x="383273" y="210785"/>
                  </a:cubicBezTo>
                  <a:cubicBezTo>
                    <a:pt x="381157" y="213478"/>
                    <a:pt x="380098" y="215786"/>
                    <a:pt x="380098" y="217710"/>
                  </a:cubicBezTo>
                  <a:cubicBezTo>
                    <a:pt x="379521" y="222711"/>
                    <a:pt x="380291" y="225982"/>
                    <a:pt x="382407" y="227521"/>
                  </a:cubicBezTo>
                  <a:cubicBezTo>
                    <a:pt x="384523" y="228867"/>
                    <a:pt x="387217" y="229444"/>
                    <a:pt x="390487" y="229252"/>
                  </a:cubicBezTo>
                  <a:cubicBezTo>
                    <a:pt x="393950" y="228866"/>
                    <a:pt x="397412" y="227905"/>
                    <a:pt x="400875" y="226366"/>
                  </a:cubicBezTo>
                  <a:cubicBezTo>
                    <a:pt x="404338" y="224827"/>
                    <a:pt x="407127" y="223480"/>
                    <a:pt x="409243" y="222327"/>
                  </a:cubicBezTo>
                  <a:cubicBezTo>
                    <a:pt x="411744" y="220596"/>
                    <a:pt x="414534" y="218480"/>
                    <a:pt x="417612" y="215979"/>
                  </a:cubicBezTo>
                  <a:cubicBezTo>
                    <a:pt x="420690" y="213286"/>
                    <a:pt x="423768" y="210496"/>
                    <a:pt x="426846" y="207611"/>
                  </a:cubicBezTo>
                  <a:cubicBezTo>
                    <a:pt x="429924" y="204725"/>
                    <a:pt x="432905" y="201936"/>
                    <a:pt x="435791" y="199243"/>
                  </a:cubicBezTo>
                  <a:cubicBezTo>
                    <a:pt x="438677" y="196550"/>
                    <a:pt x="441081" y="194338"/>
                    <a:pt x="443005" y="192606"/>
                  </a:cubicBezTo>
                  <a:lnTo>
                    <a:pt x="443557" y="192015"/>
                  </a:lnTo>
                  <a:lnTo>
                    <a:pt x="447044" y="182219"/>
                  </a:lnTo>
                  <a:cubicBezTo>
                    <a:pt x="449545" y="176640"/>
                    <a:pt x="452046" y="171447"/>
                    <a:pt x="454547" y="166637"/>
                  </a:cubicBezTo>
                  <a:cubicBezTo>
                    <a:pt x="457240" y="161636"/>
                    <a:pt x="459741" y="157596"/>
                    <a:pt x="462049" y="154518"/>
                  </a:cubicBezTo>
                  <a:cubicBezTo>
                    <a:pt x="463204" y="152786"/>
                    <a:pt x="464743" y="151824"/>
                    <a:pt x="466666" y="151632"/>
                  </a:cubicBezTo>
                  <a:cubicBezTo>
                    <a:pt x="468782" y="151440"/>
                    <a:pt x="470802" y="151920"/>
                    <a:pt x="472726" y="153074"/>
                  </a:cubicBezTo>
                  <a:cubicBezTo>
                    <a:pt x="474650" y="154229"/>
                    <a:pt x="476189" y="155864"/>
                    <a:pt x="477343" y="157980"/>
                  </a:cubicBezTo>
                  <a:cubicBezTo>
                    <a:pt x="478497" y="160096"/>
                    <a:pt x="478786" y="162501"/>
                    <a:pt x="478209" y="165194"/>
                  </a:cubicBezTo>
                  <a:cubicBezTo>
                    <a:pt x="478016" y="165387"/>
                    <a:pt x="477632" y="165964"/>
                    <a:pt x="477055" y="166925"/>
                  </a:cubicBezTo>
                  <a:cubicBezTo>
                    <a:pt x="476478" y="167887"/>
                    <a:pt x="475900" y="168945"/>
                    <a:pt x="475323" y="170099"/>
                  </a:cubicBezTo>
                  <a:cubicBezTo>
                    <a:pt x="474746" y="171254"/>
                    <a:pt x="474169" y="172408"/>
                    <a:pt x="473592" y="173562"/>
                  </a:cubicBezTo>
                  <a:cubicBezTo>
                    <a:pt x="473015" y="174524"/>
                    <a:pt x="472630" y="175101"/>
                    <a:pt x="472438" y="175293"/>
                  </a:cubicBezTo>
                  <a:cubicBezTo>
                    <a:pt x="474554" y="173754"/>
                    <a:pt x="476670" y="172022"/>
                    <a:pt x="478786" y="170099"/>
                  </a:cubicBezTo>
                  <a:cubicBezTo>
                    <a:pt x="480902" y="168176"/>
                    <a:pt x="483018" y="166348"/>
                    <a:pt x="485135" y="164617"/>
                  </a:cubicBezTo>
                  <a:cubicBezTo>
                    <a:pt x="487443" y="162886"/>
                    <a:pt x="489752" y="161444"/>
                    <a:pt x="492060" y="160289"/>
                  </a:cubicBezTo>
                  <a:cubicBezTo>
                    <a:pt x="494368" y="158942"/>
                    <a:pt x="496869" y="158268"/>
                    <a:pt x="499563" y="158268"/>
                  </a:cubicBezTo>
                  <a:cubicBezTo>
                    <a:pt x="502833" y="158268"/>
                    <a:pt x="505718" y="159230"/>
                    <a:pt x="508219" y="161154"/>
                  </a:cubicBezTo>
                  <a:cubicBezTo>
                    <a:pt x="510720" y="162884"/>
                    <a:pt x="512740" y="165096"/>
                    <a:pt x="514279" y="167790"/>
                  </a:cubicBezTo>
                  <a:cubicBezTo>
                    <a:pt x="516011" y="170291"/>
                    <a:pt x="517069" y="173080"/>
                    <a:pt x="517453" y="176158"/>
                  </a:cubicBezTo>
                  <a:cubicBezTo>
                    <a:pt x="517838" y="179044"/>
                    <a:pt x="517646" y="181833"/>
                    <a:pt x="516876" y="184526"/>
                  </a:cubicBezTo>
                  <a:cubicBezTo>
                    <a:pt x="515145" y="189720"/>
                    <a:pt x="512740" y="194818"/>
                    <a:pt x="509662" y="199819"/>
                  </a:cubicBezTo>
                  <a:cubicBezTo>
                    <a:pt x="506584" y="204628"/>
                    <a:pt x="503410" y="209438"/>
                    <a:pt x="500139" y="214247"/>
                  </a:cubicBezTo>
                  <a:cubicBezTo>
                    <a:pt x="497061" y="219056"/>
                    <a:pt x="494176" y="223961"/>
                    <a:pt x="491482" y="228963"/>
                  </a:cubicBezTo>
                  <a:cubicBezTo>
                    <a:pt x="488789" y="233772"/>
                    <a:pt x="486865" y="238773"/>
                    <a:pt x="485711" y="243967"/>
                  </a:cubicBezTo>
                  <a:cubicBezTo>
                    <a:pt x="484557" y="248007"/>
                    <a:pt x="484461" y="250507"/>
                    <a:pt x="485423" y="251469"/>
                  </a:cubicBezTo>
                  <a:cubicBezTo>
                    <a:pt x="486577" y="252431"/>
                    <a:pt x="488020" y="252624"/>
                    <a:pt x="489751" y="252048"/>
                  </a:cubicBezTo>
                  <a:cubicBezTo>
                    <a:pt x="491483" y="251470"/>
                    <a:pt x="493214" y="250508"/>
                    <a:pt x="494945" y="249162"/>
                  </a:cubicBezTo>
                  <a:cubicBezTo>
                    <a:pt x="496869" y="247815"/>
                    <a:pt x="498216" y="246854"/>
                    <a:pt x="498985" y="246277"/>
                  </a:cubicBezTo>
                  <a:cubicBezTo>
                    <a:pt x="506873" y="240121"/>
                    <a:pt x="514279" y="233388"/>
                    <a:pt x="521204" y="226078"/>
                  </a:cubicBezTo>
                  <a:lnTo>
                    <a:pt x="536735" y="209893"/>
                  </a:lnTo>
                  <a:lnTo>
                    <a:pt x="539672" y="195205"/>
                  </a:lnTo>
                  <a:cubicBezTo>
                    <a:pt x="542366" y="187895"/>
                    <a:pt x="546117" y="181450"/>
                    <a:pt x="550926" y="175872"/>
                  </a:cubicBezTo>
                  <a:cubicBezTo>
                    <a:pt x="555736" y="170101"/>
                    <a:pt x="561411" y="165580"/>
                    <a:pt x="567951" y="162310"/>
                  </a:cubicBezTo>
                  <a:cubicBezTo>
                    <a:pt x="574492" y="158848"/>
                    <a:pt x="581514" y="157405"/>
                    <a:pt x="589017" y="157982"/>
                  </a:cubicBezTo>
                  <a:cubicBezTo>
                    <a:pt x="591133" y="158367"/>
                    <a:pt x="593249" y="158945"/>
                    <a:pt x="595365" y="159714"/>
                  </a:cubicBezTo>
                  <a:cubicBezTo>
                    <a:pt x="597673" y="160292"/>
                    <a:pt x="599597" y="161446"/>
                    <a:pt x="601136" y="163176"/>
                  </a:cubicBezTo>
                  <a:lnTo>
                    <a:pt x="602290" y="164329"/>
                  </a:lnTo>
                  <a:cubicBezTo>
                    <a:pt x="602290" y="163943"/>
                    <a:pt x="602386" y="163655"/>
                    <a:pt x="602578" y="163465"/>
                  </a:cubicBezTo>
                  <a:cubicBezTo>
                    <a:pt x="602578" y="163272"/>
                    <a:pt x="602674" y="163175"/>
                    <a:pt x="602866" y="163175"/>
                  </a:cubicBezTo>
                  <a:cubicBezTo>
                    <a:pt x="608830" y="150479"/>
                    <a:pt x="614698" y="138264"/>
                    <a:pt x="620469" y="126529"/>
                  </a:cubicBezTo>
                  <a:cubicBezTo>
                    <a:pt x="626432" y="114603"/>
                    <a:pt x="632396" y="103157"/>
                    <a:pt x="638360" y="92192"/>
                  </a:cubicBezTo>
                  <a:cubicBezTo>
                    <a:pt x="644516" y="81228"/>
                    <a:pt x="650864" y="70648"/>
                    <a:pt x="657405" y="60452"/>
                  </a:cubicBezTo>
                  <a:cubicBezTo>
                    <a:pt x="664138" y="50257"/>
                    <a:pt x="671256" y="40350"/>
                    <a:pt x="678758" y="30732"/>
                  </a:cubicBezTo>
                  <a:cubicBezTo>
                    <a:pt x="682991" y="25923"/>
                    <a:pt x="686357" y="23807"/>
                    <a:pt x="688858" y="24384"/>
                  </a:cubicBezTo>
                  <a:cubicBezTo>
                    <a:pt x="691551" y="24962"/>
                    <a:pt x="693475" y="26981"/>
                    <a:pt x="694629" y="30443"/>
                  </a:cubicBezTo>
                  <a:cubicBezTo>
                    <a:pt x="695976" y="33713"/>
                    <a:pt x="696745" y="37657"/>
                    <a:pt x="696938" y="42274"/>
                  </a:cubicBezTo>
                  <a:cubicBezTo>
                    <a:pt x="697130" y="46890"/>
                    <a:pt x="697034" y="50642"/>
                    <a:pt x="696649" y="53527"/>
                  </a:cubicBezTo>
                  <a:cubicBezTo>
                    <a:pt x="693764" y="65454"/>
                    <a:pt x="689820" y="77380"/>
                    <a:pt x="684818" y="89307"/>
                  </a:cubicBezTo>
                  <a:cubicBezTo>
                    <a:pt x="680009" y="101233"/>
                    <a:pt x="674526" y="113160"/>
                    <a:pt x="668370" y="125087"/>
                  </a:cubicBezTo>
                  <a:cubicBezTo>
                    <a:pt x="662214" y="136821"/>
                    <a:pt x="655577" y="148555"/>
                    <a:pt x="648459" y="160290"/>
                  </a:cubicBezTo>
                  <a:cubicBezTo>
                    <a:pt x="641342" y="172024"/>
                    <a:pt x="634128" y="183758"/>
                    <a:pt x="626817" y="195493"/>
                  </a:cubicBezTo>
                  <a:cubicBezTo>
                    <a:pt x="625855" y="196647"/>
                    <a:pt x="625086" y="197897"/>
                    <a:pt x="624509" y="199244"/>
                  </a:cubicBezTo>
                  <a:cubicBezTo>
                    <a:pt x="624124" y="200398"/>
                    <a:pt x="623739" y="201744"/>
                    <a:pt x="623355" y="203283"/>
                  </a:cubicBezTo>
                  <a:cubicBezTo>
                    <a:pt x="622970" y="205014"/>
                    <a:pt x="622489" y="207515"/>
                    <a:pt x="621912" y="210786"/>
                  </a:cubicBezTo>
                  <a:cubicBezTo>
                    <a:pt x="621527" y="213863"/>
                    <a:pt x="621238" y="217134"/>
                    <a:pt x="621046" y="220596"/>
                  </a:cubicBezTo>
                  <a:cubicBezTo>
                    <a:pt x="621046" y="224059"/>
                    <a:pt x="621335" y="227233"/>
                    <a:pt x="621912" y="230118"/>
                  </a:cubicBezTo>
                  <a:cubicBezTo>
                    <a:pt x="622489" y="233004"/>
                    <a:pt x="623547" y="234831"/>
                    <a:pt x="625086" y="235600"/>
                  </a:cubicBezTo>
                  <a:cubicBezTo>
                    <a:pt x="627394" y="236755"/>
                    <a:pt x="630761" y="236562"/>
                    <a:pt x="635185" y="235022"/>
                  </a:cubicBezTo>
                  <a:cubicBezTo>
                    <a:pt x="639610" y="233292"/>
                    <a:pt x="644323" y="230791"/>
                    <a:pt x="649325" y="227520"/>
                  </a:cubicBezTo>
                  <a:cubicBezTo>
                    <a:pt x="654327" y="224250"/>
                    <a:pt x="659329" y="220499"/>
                    <a:pt x="664330" y="216267"/>
                  </a:cubicBezTo>
                  <a:lnTo>
                    <a:pt x="665457" y="215238"/>
                  </a:lnTo>
                  <a:lnTo>
                    <a:pt x="669235" y="200397"/>
                  </a:lnTo>
                  <a:cubicBezTo>
                    <a:pt x="670966" y="194819"/>
                    <a:pt x="673082" y="189336"/>
                    <a:pt x="675583" y="183950"/>
                  </a:cubicBezTo>
                  <a:cubicBezTo>
                    <a:pt x="679815" y="175101"/>
                    <a:pt x="685202" y="167214"/>
                    <a:pt x="691743" y="160289"/>
                  </a:cubicBezTo>
                  <a:cubicBezTo>
                    <a:pt x="698284" y="153363"/>
                    <a:pt x="706171" y="148939"/>
                    <a:pt x="715405" y="147015"/>
                  </a:cubicBezTo>
                  <a:cubicBezTo>
                    <a:pt x="718483" y="146246"/>
                    <a:pt x="721657" y="146150"/>
                    <a:pt x="724927" y="146726"/>
                  </a:cubicBezTo>
                  <a:cubicBezTo>
                    <a:pt x="728390" y="147112"/>
                    <a:pt x="731372" y="148170"/>
                    <a:pt x="733873" y="149900"/>
                  </a:cubicBezTo>
                  <a:cubicBezTo>
                    <a:pt x="736373" y="151630"/>
                    <a:pt x="738297" y="153843"/>
                    <a:pt x="739644" y="156537"/>
                  </a:cubicBezTo>
                  <a:cubicBezTo>
                    <a:pt x="740990" y="159038"/>
                    <a:pt x="741279" y="161827"/>
                    <a:pt x="740510" y="164905"/>
                  </a:cubicBezTo>
                  <a:cubicBezTo>
                    <a:pt x="740125" y="166060"/>
                    <a:pt x="739644" y="167214"/>
                    <a:pt x="739067" y="168368"/>
                  </a:cubicBezTo>
                  <a:cubicBezTo>
                    <a:pt x="738682" y="169522"/>
                    <a:pt x="738105" y="170484"/>
                    <a:pt x="737335" y="171253"/>
                  </a:cubicBezTo>
                  <a:cubicBezTo>
                    <a:pt x="736758" y="172022"/>
                    <a:pt x="736181" y="172503"/>
                    <a:pt x="735604" y="172695"/>
                  </a:cubicBezTo>
                  <a:cubicBezTo>
                    <a:pt x="735027" y="172695"/>
                    <a:pt x="734450" y="172118"/>
                    <a:pt x="733873" y="170964"/>
                  </a:cubicBezTo>
                  <a:cubicBezTo>
                    <a:pt x="733680" y="170386"/>
                    <a:pt x="733392" y="169616"/>
                    <a:pt x="733007" y="168655"/>
                  </a:cubicBezTo>
                  <a:cubicBezTo>
                    <a:pt x="732815" y="167501"/>
                    <a:pt x="732430" y="166443"/>
                    <a:pt x="731853" y="165481"/>
                  </a:cubicBezTo>
                  <a:cubicBezTo>
                    <a:pt x="731276" y="164327"/>
                    <a:pt x="730410" y="163365"/>
                    <a:pt x="729256" y="162595"/>
                  </a:cubicBezTo>
                  <a:cubicBezTo>
                    <a:pt x="728294" y="161634"/>
                    <a:pt x="726947" y="161153"/>
                    <a:pt x="725216" y="161153"/>
                  </a:cubicBezTo>
                  <a:cubicBezTo>
                    <a:pt x="721561" y="161153"/>
                    <a:pt x="717425" y="163461"/>
                    <a:pt x="712808" y="168078"/>
                  </a:cubicBezTo>
                  <a:cubicBezTo>
                    <a:pt x="708191" y="172503"/>
                    <a:pt x="703766" y="177793"/>
                    <a:pt x="699534" y="183948"/>
                  </a:cubicBezTo>
                  <a:cubicBezTo>
                    <a:pt x="695302" y="189912"/>
                    <a:pt x="691646" y="195971"/>
                    <a:pt x="688568" y="202127"/>
                  </a:cubicBezTo>
                  <a:cubicBezTo>
                    <a:pt x="685491" y="208090"/>
                    <a:pt x="683567" y="212611"/>
                    <a:pt x="682797" y="215689"/>
                  </a:cubicBezTo>
                  <a:cubicBezTo>
                    <a:pt x="681643" y="220690"/>
                    <a:pt x="681739" y="223384"/>
                    <a:pt x="683086" y="223768"/>
                  </a:cubicBezTo>
                  <a:cubicBezTo>
                    <a:pt x="684432" y="223961"/>
                    <a:pt x="686548" y="222903"/>
                    <a:pt x="689434" y="220594"/>
                  </a:cubicBezTo>
                  <a:cubicBezTo>
                    <a:pt x="692320" y="218093"/>
                    <a:pt x="695590" y="214727"/>
                    <a:pt x="699245" y="210495"/>
                  </a:cubicBezTo>
                  <a:cubicBezTo>
                    <a:pt x="702900" y="206263"/>
                    <a:pt x="706363" y="202127"/>
                    <a:pt x="709633" y="198087"/>
                  </a:cubicBezTo>
                  <a:cubicBezTo>
                    <a:pt x="712904" y="193855"/>
                    <a:pt x="715693" y="190200"/>
                    <a:pt x="718002" y="187122"/>
                  </a:cubicBezTo>
                  <a:cubicBezTo>
                    <a:pt x="720503" y="183852"/>
                    <a:pt x="721849" y="182121"/>
                    <a:pt x="722041" y="181929"/>
                  </a:cubicBezTo>
                  <a:cubicBezTo>
                    <a:pt x="724542" y="180005"/>
                    <a:pt x="727043" y="179140"/>
                    <a:pt x="729544" y="179333"/>
                  </a:cubicBezTo>
                  <a:cubicBezTo>
                    <a:pt x="732045" y="179526"/>
                    <a:pt x="734161" y="180488"/>
                    <a:pt x="735893" y="182219"/>
                  </a:cubicBezTo>
                  <a:cubicBezTo>
                    <a:pt x="737816" y="183758"/>
                    <a:pt x="739067" y="185778"/>
                    <a:pt x="739644" y="188278"/>
                  </a:cubicBezTo>
                  <a:cubicBezTo>
                    <a:pt x="740413" y="190587"/>
                    <a:pt x="740221" y="192991"/>
                    <a:pt x="739066" y="195492"/>
                  </a:cubicBezTo>
                  <a:cubicBezTo>
                    <a:pt x="737720" y="198570"/>
                    <a:pt x="735892" y="202225"/>
                    <a:pt x="733584" y="206457"/>
                  </a:cubicBezTo>
                  <a:cubicBezTo>
                    <a:pt x="731467" y="210689"/>
                    <a:pt x="730121" y="214440"/>
                    <a:pt x="729544" y="217710"/>
                  </a:cubicBezTo>
                  <a:cubicBezTo>
                    <a:pt x="728967" y="222711"/>
                    <a:pt x="729544" y="225982"/>
                    <a:pt x="731275" y="227520"/>
                  </a:cubicBezTo>
                  <a:cubicBezTo>
                    <a:pt x="733007" y="229060"/>
                    <a:pt x="736181" y="228964"/>
                    <a:pt x="740798" y="227231"/>
                  </a:cubicBezTo>
                  <a:cubicBezTo>
                    <a:pt x="744453" y="225692"/>
                    <a:pt x="748300" y="222999"/>
                    <a:pt x="752340" y="219152"/>
                  </a:cubicBezTo>
                  <a:cubicBezTo>
                    <a:pt x="756380" y="215112"/>
                    <a:pt x="760324" y="210880"/>
                    <a:pt x="764171" y="206456"/>
                  </a:cubicBezTo>
                  <a:cubicBezTo>
                    <a:pt x="768211" y="202032"/>
                    <a:pt x="771962" y="197800"/>
                    <a:pt x="775425" y="193760"/>
                  </a:cubicBezTo>
                  <a:lnTo>
                    <a:pt x="783275" y="185649"/>
                  </a:lnTo>
                  <a:lnTo>
                    <a:pt x="783794" y="182795"/>
                  </a:lnTo>
                  <a:cubicBezTo>
                    <a:pt x="785140" y="176447"/>
                    <a:pt x="786487" y="170388"/>
                    <a:pt x="787834" y="164617"/>
                  </a:cubicBezTo>
                  <a:cubicBezTo>
                    <a:pt x="788219" y="163077"/>
                    <a:pt x="789084" y="161923"/>
                    <a:pt x="790431" y="161154"/>
                  </a:cubicBezTo>
                  <a:cubicBezTo>
                    <a:pt x="791970" y="160193"/>
                    <a:pt x="793605" y="159712"/>
                    <a:pt x="795336" y="159712"/>
                  </a:cubicBezTo>
                  <a:cubicBezTo>
                    <a:pt x="797068" y="159519"/>
                    <a:pt x="798606" y="159808"/>
                    <a:pt x="799953" y="160579"/>
                  </a:cubicBezTo>
                  <a:cubicBezTo>
                    <a:pt x="801300" y="161348"/>
                    <a:pt x="802165" y="162502"/>
                    <a:pt x="802550" y="164042"/>
                  </a:cubicBezTo>
                  <a:cubicBezTo>
                    <a:pt x="803320" y="167889"/>
                    <a:pt x="803031" y="172505"/>
                    <a:pt x="801685" y="177892"/>
                  </a:cubicBezTo>
                  <a:cubicBezTo>
                    <a:pt x="800530" y="183278"/>
                    <a:pt x="799184" y="188568"/>
                    <a:pt x="797645" y="193761"/>
                  </a:cubicBezTo>
                  <a:cubicBezTo>
                    <a:pt x="801108" y="189530"/>
                    <a:pt x="804859" y="184624"/>
                    <a:pt x="808898" y="179046"/>
                  </a:cubicBezTo>
                  <a:cubicBezTo>
                    <a:pt x="813131" y="173275"/>
                    <a:pt x="817651" y="167985"/>
                    <a:pt x="822461" y="163176"/>
                  </a:cubicBezTo>
                  <a:cubicBezTo>
                    <a:pt x="827463" y="158174"/>
                    <a:pt x="832657" y="154134"/>
                    <a:pt x="838044" y="151057"/>
                  </a:cubicBezTo>
                  <a:cubicBezTo>
                    <a:pt x="843622" y="147786"/>
                    <a:pt x="849394" y="146440"/>
                    <a:pt x="855357" y="147017"/>
                  </a:cubicBezTo>
                  <a:cubicBezTo>
                    <a:pt x="858435" y="147978"/>
                    <a:pt x="860840" y="149614"/>
                    <a:pt x="862571" y="151922"/>
                  </a:cubicBezTo>
                  <a:cubicBezTo>
                    <a:pt x="864495" y="154038"/>
                    <a:pt x="865938" y="156539"/>
                    <a:pt x="866900" y="159425"/>
                  </a:cubicBezTo>
                  <a:cubicBezTo>
                    <a:pt x="867862" y="162118"/>
                    <a:pt x="868343" y="164811"/>
                    <a:pt x="868343" y="167504"/>
                  </a:cubicBezTo>
                  <a:cubicBezTo>
                    <a:pt x="868535" y="170197"/>
                    <a:pt x="868342" y="172505"/>
                    <a:pt x="867765" y="174429"/>
                  </a:cubicBezTo>
                  <a:cubicBezTo>
                    <a:pt x="866418" y="177122"/>
                    <a:pt x="864783" y="180104"/>
                    <a:pt x="862860" y="183374"/>
                  </a:cubicBezTo>
                  <a:cubicBezTo>
                    <a:pt x="861128" y="186452"/>
                    <a:pt x="859685" y="189626"/>
                    <a:pt x="858531" y="192896"/>
                  </a:cubicBezTo>
                  <a:cubicBezTo>
                    <a:pt x="857569" y="196166"/>
                    <a:pt x="857184" y="199436"/>
                    <a:pt x="857377" y="202706"/>
                  </a:cubicBezTo>
                  <a:cubicBezTo>
                    <a:pt x="857569" y="205784"/>
                    <a:pt x="859108" y="208574"/>
                    <a:pt x="861994" y="211074"/>
                  </a:cubicBezTo>
                  <a:cubicBezTo>
                    <a:pt x="863148" y="212614"/>
                    <a:pt x="863052" y="213768"/>
                    <a:pt x="861705" y="214537"/>
                  </a:cubicBezTo>
                  <a:cubicBezTo>
                    <a:pt x="860359" y="215306"/>
                    <a:pt x="858531" y="215786"/>
                    <a:pt x="856223" y="215979"/>
                  </a:cubicBezTo>
                  <a:cubicBezTo>
                    <a:pt x="853915" y="215979"/>
                    <a:pt x="851606" y="215691"/>
                    <a:pt x="849297" y="215115"/>
                  </a:cubicBezTo>
                  <a:cubicBezTo>
                    <a:pt x="846989" y="214537"/>
                    <a:pt x="845354" y="213671"/>
                    <a:pt x="844392" y="212516"/>
                  </a:cubicBezTo>
                  <a:cubicBezTo>
                    <a:pt x="841314" y="208284"/>
                    <a:pt x="839390" y="204052"/>
                    <a:pt x="838621" y="199820"/>
                  </a:cubicBezTo>
                  <a:cubicBezTo>
                    <a:pt x="838044" y="195396"/>
                    <a:pt x="838236" y="190972"/>
                    <a:pt x="839198" y="186548"/>
                  </a:cubicBezTo>
                  <a:cubicBezTo>
                    <a:pt x="840160" y="182123"/>
                    <a:pt x="841699" y="177795"/>
                    <a:pt x="843815" y="173563"/>
                  </a:cubicBezTo>
                  <a:cubicBezTo>
                    <a:pt x="845931" y="169331"/>
                    <a:pt x="848336" y="165291"/>
                    <a:pt x="851029" y="161444"/>
                  </a:cubicBezTo>
                  <a:lnTo>
                    <a:pt x="851028" y="161443"/>
                  </a:lnTo>
                  <a:cubicBezTo>
                    <a:pt x="843718" y="164714"/>
                    <a:pt x="836985" y="169619"/>
                    <a:pt x="830829" y="176159"/>
                  </a:cubicBezTo>
                  <a:cubicBezTo>
                    <a:pt x="824673" y="182507"/>
                    <a:pt x="818806" y="189625"/>
                    <a:pt x="813227" y="197511"/>
                  </a:cubicBezTo>
                  <a:cubicBezTo>
                    <a:pt x="807840" y="205398"/>
                    <a:pt x="802550" y="213574"/>
                    <a:pt x="797356" y="222038"/>
                  </a:cubicBezTo>
                  <a:cubicBezTo>
                    <a:pt x="792162" y="230502"/>
                    <a:pt x="786968" y="238389"/>
                    <a:pt x="781773" y="245699"/>
                  </a:cubicBezTo>
                  <a:cubicBezTo>
                    <a:pt x="780234" y="247429"/>
                    <a:pt x="778407" y="247910"/>
                    <a:pt x="776291" y="247141"/>
                  </a:cubicBezTo>
                  <a:cubicBezTo>
                    <a:pt x="774175" y="246372"/>
                    <a:pt x="772828" y="244929"/>
                    <a:pt x="772251" y="242813"/>
                  </a:cubicBezTo>
                  <a:cubicBezTo>
                    <a:pt x="771674" y="240504"/>
                    <a:pt x="771866" y="238100"/>
                    <a:pt x="772828" y="235599"/>
                  </a:cubicBezTo>
                  <a:cubicBezTo>
                    <a:pt x="774175" y="230982"/>
                    <a:pt x="775522" y="225788"/>
                    <a:pt x="776868" y="220017"/>
                  </a:cubicBezTo>
                  <a:lnTo>
                    <a:pt x="779335" y="207069"/>
                  </a:lnTo>
                  <a:lnTo>
                    <a:pt x="769365" y="221172"/>
                  </a:lnTo>
                  <a:cubicBezTo>
                    <a:pt x="765133" y="226173"/>
                    <a:pt x="760324" y="230693"/>
                    <a:pt x="754937" y="234733"/>
                  </a:cubicBezTo>
                  <a:cubicBezTo>
                    <a:pt x="749743" y="238581"/>
                    <a:pt x="744068" y="241658"/>
                    <a:pt x="737912" y="243967"/>
                  </a:cubicBezTo>
                  <a:cubicBezTo>
                    <a:pt x="734065" y="245314"/>
                    <a:pt x="730602" y="245698"/>
                    <a:pt x="727524" y="245120"/>
                  </a:cubicBezTo>
                  <a:cubicBezTo>
                    <a:pt x="724446" y="244735"/>
                    <a:pt x="721656" y="243677"/>
                    <a:pt x="719156" y="241946"/>
                  </a:cubicBezTo>
                  <a:cubicBezTo>
                    <a:pt x="716655" y="240214"/>
                    <a:pt x="714635" y="238002"/>
                    <a:pt x="713096" y="235310"/>
                  </a:cubicBezTo>
                  <a:cubicBezTo>
                    <a:pt x="711557" y="232616"/>
                    <a:pt x="710499" y="229731"/>
                    <a:pt x="709921" y="226653"/>
                  </a:cubicBezTo>
                  <a:lnTo>
                    <a:pt x="709922" y="226656"/>
                  </a:lnTo>
                  <a:cubicBezTo>
                    <a:pt x="708191" y="228003"/>
                    <a:pt x="706267" y="229542"/>
                    <a:pt x="704151" y="231273"/>
                  </a:cubicBezTo>
                  <a:cubicBezTo>
                    <a:pt x="702034" y="232812"/>
                    <a:pt x="699726" y="234255"/>
                    <a:pt x="697225" y="235601"/>
                  </a:cubicBezTo>
                  <a:cubicBezTo>
                    <a:pt x="694724" y="236755"/>
                    <a:pt x="692031" y="237717"/>
                    <a:pt x="689145" y="238486"/>
                  </a:cubicBezTo>
                  <a:cubicBezTo>
                    <a:pt x="686452" y="239062"/>
                    <a:pt x="683567" y="239063"/>
                    <a:pt x="680489" y="238486"/>
                  </a:cubicBezTo>
                  <a:cubicBezTo>
                    <a:pt x="678180" y="238101"/>
                    <a:pt x="676064" y="237331"/>
                    <a:pt x="674140" y="236177"/>
                  </a:cubicBezTo>
                  <a:cubicBezTo>
                    <a:pt x="672217" y="234830"/>
                    <a:pt x="670389" y="233291"/>
                    <a:pt x="668658" y="231560"/>
                  </a:cubicBezTo>
                  <a:lnTo>
                    <a:pt x="666090" y="225492"/>
                  </a:lnTo>
                  <a:lnTo>
                    <a:pt x="663177" y="228098"/>
                  </a:lnTo>
                  <a:cubicBezTo>
                    <a:pt x="656828" y="233869"/>
                    <a:pt x="650095" y="239255"/>
                    <a:pt x="642977" y="244256"/>
                  </a:cubicBezTo>
                  <a:cubicBezTo>
                    <a:pt x="636052" y="249258"/>
                    <a:pt x="629222" y="253009"/>
                    <a:pt x="622489" y="255510"/>
                  </a:cubicBezTo>
                  <a:cubicBezTo>
                    <a:pt x="615756" y="258203"/>
                    <a:pt x="609985" y="258299"/>
                    <a:pt x="605176" y="255799"/>
                  </a:cubicBezTo>
                  <a:cubicBezTo>
                    <a:pt x="600751" y="253490"/>
                    <a:pt x="597577" y="249740"/>
                    <a:pt x="595653" y="244546"/>
                  </a:cubicBezTo>
                  <a:cubicBezTo>
                    <a:pt x="593922" y="239544"/>
                    <a:pt x="592960" y="234062"/>
                    <a:pt x="592768" y="228098"/>
                  </a:cubicBezTo>
                  <a:cubicBezTo>
                    <a:pt x="592575" y="221943"/>
                    <a:pt x="592768" y="215979"/>
                    <a:pt x="593345" y="210208"/>
                  </a:cubicBezTo>
                  <a:cubicBezTo>
                    <a:pt x="594114" y="204245"/>
                    <a:pt x="594788" y="199532"/>
                    <a:pt x="595365" y="196070"/>
                  </a:cubicBezTo>
                  <a:cubicBezTo>
                    <a:pt x="594980" y="196455"/>
                    <a:pt x="594595" y="197032"/>
                    <a:pt x="594211" y="197801"/>
                  </a:cubicBezTo>
                  <a:cubicBezTo>
                    <a:pt x="594018" y="198379"/>
                    <a:pt x="593730" y="198956"/>
                    <a:pt x="593345" y="199532"/>
                  </a:cubicBezTo>
                  <a:cubicBezTo>
                    <a:pt x="590652" y="202610"/>
                    <a:pt x="587574" y="206361"/>
                    <a:pt x="584111" y="210786"/>
                  </a:cubicBezTo>
                  <a:cubicBezTo>
                    <a:pt x="580648" y="215017"/>
                    <a:pt x="576801" y="218961"/>
                    <a:pt x="572569" y="222616"/>
                  </a:cubicBezTo>
                  <a:cubicBezTo>
                    <a:pt x="568529" y="226271"/>
                    <a:pt x="564200" y="229060"/>
                    <a:pt x="559583" y="230984"/>
                  </a:cubicBezTo>
                  <a:cubicBezTo>
                    <a:pt x="554966" y="232908"/>
                    <a:pt x="550253" y="233004"/>
                    <a:pt x="545444" y="231273"/>
                  </a:cubicBezTo>
                  <a:cubicBezTo>
                    <a:pt x="542750" y="229733"/>
                    <a:pt x="540442" y="227906"/>
                    <a:pt x="538518" y="225791"/>
                  </a:cubicBezTo>
                  <a:lnTo>
                    <a:pt x="537837" y="223872"/>
                  </a:lnTo>
                  <a:lnTo>
                    <a:pt x="531882" y="232715"/>
                  </a:lnTo>
                  <a:cubicBezTo>
                    <a:pt x="527842" y="238101"/>
                    <a:pt x="523321" y="243295"/>
                    <a:pt x="518319" y="248296"/>
                  </a:cubicBezTo>
                  <a:cubicBezTo>
                    <a:pt x="513510" y="253491"/>
                    <a:pt x="508508" y="257819"/>
                    <a:pt x="503314" y="261281"/>
                  </a:cubicBezTo>
                  <a:cubicBezTo>
                    <a:pt x="498120" y="264936"/>
                    <a:pt x="493311" y="266763"/>
                    <a:pt x="488886" y="266763"/>
                  </a:cubicBezTo>
                  <a:cubicBezTo>
                    <a:pt x="485616" y="266763"/>
                    <a:pt x="482730" y="265994"/>
                    <a:pt x="480229" y="264454"/>
                  </a:cubicBezTo>
                  <a:cubicBezTo>
                    <a:pt x="477728" y="263107"/>
                    <a:pt x="475612" y="261376"/>
                    <a:pt x="473881" y="259260"/>
                  </a:cubicBezTo>
                  <a:cubicBezTo>
                    <a:pt x="472149" y="257144"/>
                    <a:pt x="470803" y="254740"/>
                    <a:pt x="469841" y="252047"/>
                  </a:cubicBezTo>
                  <a:cubicBezTo>
                    <a:pt x="469071" y="249354"/>
                    <a:pt x="468687" y="246660"/>
                    <a:pt x="468687" y="243967"/>
                  </a:cubicBezTo>
                  <a:cubicBezTo>
                    <a:pt x="468687" y="234349"/>
                    <a:pt x="470610" y="224923"/>
                    <a:pt x="474458" y="215689"/>
                  </a:cubicBezTo>
                  <a:cubicBezTo>
                    <a:pt x="478498" y="206456"/>
                    <a:pt x="482730" y="197992"/>
                    <a:pt x="487155" y="190297"/>
                  </a:cubicBezTo>
                  <a:cubicBezTo>
                    <a:pt x="489271" y="186258"/>
                    <a:pt x="489848" y="183468"/>
                    <a:pt x="488886" y="181929"/>
                  </a:cubicBezTo>
                  <a:cubicBezTo>
                    <a:pt x="487924" y="180390"/>
                    <a:pt x="485135" y="180679"/>
                    <a:pt x="480518" y="182796"/>
                  </a:cubicBezTo>
                  <a:cubicBezTo>
                    <a:pt x="476670" y="184527"/>
                    <a:pt x="473111" y="187701"/>
                    <a:pt x="469841" y="192318"/>
                  </a:cubicBezTo>
                  <a:cubicBezTo>
                    <a:pt x="466570" y="196743"/>
                    <a:pt x="463493" y="201648"/>
                    <a:pt x="460607" y="207034"/>
                  </a:cubicBezTo>
                  <a:cubicBezTo>
                    <a:pt x="457914" y="212228"/>
                    <a:pt x="455413" y="217422"/>
                    <a:pt x="453104" y="222616"/>
                  </a:cubicBezTo>
                  <a:cubicBezTo>
                    <a:pt x="450796" y="227810"/>
                    <a:pt x="448680" y="231946"/>
                    <a:pt x="446756" y="235024"/>
                  </a:cubicBezTo>
                  <a:lnTo>
                    <a:pt x="446755" y="235023"/>
                  </a:lnTo>
                  <a:cubicBezTo>
                    <a:pt x="445986" y="236563"/>
                    <a:pt x="445409" y="237525"/>
                    <a:pt x="445024" y="237909"/>
                  </a:cubicBezTo>
                  <a:cubicBezTo>
                    <a:pt x="441946" y="240025"/>
                    <a:pt x="439830" y="239448"/>
                    <a:pt x="438676" y="236177"/>
                  </a:cubicBezTo>
                  <a:cubicBezTo>
                    <a:pt x="438291" y="234638"/>
                    <a:pt x="438002" y="233195"/>
                    <a:pt x="437810" y="231849"/>
                  </a:cubicBezTo>
                  <a:cubicBezTo>
                    <a:pt x="437618" y="230502"/>
                    <a:pt x="437522" y="229059"/>
                    <a:pt x="437522" y="227521"/>
                  </a:cubicBezTo>
                  <a:cubicBezTo>
                    <a:pt x="437329" y="223289"/>
                    <a:pt x="437329" y="219057"/>
                    <a:pt x="437522" y="214825"/>
                  </a:cubicBezTo>
                  <a:lnTo>
                    <a:pt x="438429" y="210740"/>
                  </a:lnTo>
                  <a:lnTo>
                    <a:pt x="430886" y="218864"/>
                  </a:lnTo>
                  <a:cubicBezTo>
                    <a:pt x="427038" y="223096"/>
                    <a:pt x="422902" y="227039"/>
                    <a:pt x="418478" y="230694"/>
                  </a:cubicBezTo>
                  <a:cubicBezTo>
                    <a:pt x="414245" y="234157"/>
                    <a:pt x="409725" y="237235"/>
                    <a:pt x="404915" y="239928"/>
                  </a:cubicBezTo>
                  <a:cubicBezTo>
                    <a:pt x="400298" y="242429"/>
                    <a:pt x="395489" y="244064"/>
                    <a:pt x="390487" y="244833"/>
                  </a:cubicBezTo>
                  <a:cubicBezTo>
                    <a:pt x="381638" y="245409"/>
                    <a:pt x="374328" y="243582"/>
                    <a:pt x="368556" y="239351"/>
                  </a:cubicBezTo>
                  <a:cubicBezTo>
                    <a:pt x="362978" y="235119"/>
                    <a:pt x="360188" y="228193"/>
                    <a:pt x="360188" y="218575"/>
                  </a:cubicBezTo>
                  <a:lnTo>
                    <a:pt x="360188" y="218576"/>
                  </a:lnTo>
                  <a:lnTo>
                    <a:pt x="361326" y="207342"/>
                  </a:lnTo>
                  <a:lnTo>
                    <a:pt x="349801" y="218002"/>
                  </a:lnTo>
                  <a:cubicBezTo>
                    <a:pt x="346338" y="220888"/>
                    <a:pt x="342490" y="224254"/>
                    <a:pt x="338258" y="228101"/>
                  </a:cubicBezTo>
                  <a:cubicBezTo>
                    <a:pt x="335180" y="231179"/>
                    <a:pt x="332968" y="234257"/>
                    <a:pt x="331621" y="237335"/>
                  </a:cubicBezTo>
                  <a:cubicBezTo>
                    <a:pt x="330467" y="240413"/>
                    <a:pt x="329409" y="243972"/>
                    <a:pt x="328447" y="248011"/>
                  </a:cubicBezTo>
                  <a:cubicBezTo>
                    <a:pt x="324600" y="260515"/>
                    <a:pt x="320560" y="273884"/>
                    <a:pt x="316327" y="288119"/>
                  </a:cubicBezTo>
                  <a:cubicBezTo>
                    <a:pt x="312288" y="302354"/>
                    <a:pt x="307382" y="316108"/>
                    <a:pt x="301611" y="329382"/>
                  </a:cubicBezTo>
                  <a:cubicBezTo>
                    <a:pt x="295840" y="342847"/>
                    <a:pt x="288818" y="355158"/>
                    <a:pt x="280546" y="366316"/>
                  </a:cubicBezTo>
                  <a:cubicBezTo>
                    <a:pt x="272466" y="377473"/>
                    <a:pt x="262655" y="386129"/>
                    <a:pt x="251113" y="392285"/>
                  </a:cubicBezTo>
                  <a:cubicBezTo>
                    <a:pt x="248227" y="392671"/>
                    <a:pt x="245438" y="392574"/>
                    <a:pt x="242744" y="391996"/>
                  </a:cubicBezTo>
                  <a:cubicBezTo>
                    <a:pt x="239859" y="391610"/>
                    <a:pt x="237166" y="390360"/>
                    <a:pt x="234665" y="388245"/>
                  </a:cubicBezTo>
                  <a:cubicBezTo>
                    <a:pt x="230625" y="384782"/>
                    <a:pt x="227932" y="380646"/>
                    <a:pt x="226585" y="375837"/>
                  </a:cubicBezTo>
                  <a:cubicBezTo>
                    <a:pt x="225238" y="371028"/>
                    <a:pt x="224757" y="365930"/>
                    <a:pt x="225142" y="360544"/>
                  </a:cubicBezTo>
                  <a:cubicBezTo>
                    <a:pt x="225334" y="355351"/>
                    <a:pt x="226200" y="350157"/>
                    <a:pt x="227739" y="344963"/>
                  </a:cubicBezTo>
                  <a:cubicBezTo>
                    <a:pt x="229278" y="339769"/>
                    <a:pt x="230913" y="335248"/>
                    <a:pt x="232645" y="331401"/>
                  </a:cubicBezTo>
                  <a:cubicBezTo>
                    <a:pt x="237454" y="320436"/>
                    <a:pt x="243033" y="310048"/>
                    <a:pt x="249381" y="300238"/>
                  </a:cubicBezTo>
                  <a:lnTo>
                    <a:pt x="256764" y="290073"/>
                  </a:lnTo>
                  <a:lnTo>
                    <a:pt x="252805" y="288904"/>
                  </a:lnTo>
                  <a:cubicBezTo>
                    <a:pt x="242538" y="285621"/>
                    <a:pt x="232203" y="282838"/>
                    <a:pt x="221290" y="282705"/>
                  </a:cubicBezTo>
                  <a:cubicBezTo>
                    <a:pt x="199728" y="282172"/>
                    <a:pt x="176800" y="281973"/>
                    <a:pt x="155238" y="284103"/>
                  </a:cubicBezTo>
                  <a:cubicBezTo>
                    <a:pt x="133677" y="286500"/>
                    <a:pt x="99389" y="293171"/>
                    <a:pt x="78360" y="297960"/>
                  </a:cubicBezTo>
                  <a:cubicBezTo>
                    <a:pt x="57597" y="302752"/>
                    <a:pt x="49943" y="314733"/>
                    <a:pt x="30777" y="320855"/>
                  </a:cubicBezTo>
                  <a:cubicBezTo>
                    <a:pt x="28382" y="321655"/>
                    <a:pt x="25587" y="322187"/>
                    <a:pt x="22392" y="322451"/>
                  </a:cubicBezTo>
                  <a:cubicBezTo>
                    <a:pt x="19464" y="322718"/>
                    <a:pt x="16536" y="322451"/>
                    <a:pt x="13608" y="321651"/>
                  </a:cubicBezTo>
                  <a:cubicBezTo>
                    <a:pt x="10680" y="321118"/>
                    <a:pt x="8018" y="320052"/>
                    <a:pt x="5623" y="318455"/>
                  </a:cubicBezTo>
                  <a:cubicBezTo>
                    <a:pt x="3227" y="316858"/>
                    <a:pt x="1630" y="314729"/>
                    <a:pt x="831" y="312067"/>
                  </a:cubicBezTo>
                  <a:cubicBezTo>
                    <a:pt x="-500" y="308341"/>
                    <a:pt x="-234" y="304615"/>
                    <a:pt x="1630" y="300888"/>
                  </a:cubicBezTo>
                  <a:cubicBezTo>
                    <a:pt x="3493" y="297428"/>
                    <a:pt x="6288" y="295032"/>
                    <a:pt x="10015" y="293701"/>
                  </a:cubicBezTo>
                  <a:cubicBezTo>
                    <a:pt x="15871" y="291571"/>
                    <a:pt x="21727" y="289575"/>
                    <a:pt x="27583" y="287713"/>
                  </a:cubicBezTo>
                  <a:cubicBezTo>
                    <a:pt x="33439" y="285849"/>
                    <a:pt x="39162" y="284119"/>
                    <a:pt x="44752" y="282522"/>
                  </a:cubicBezTo>
                  <a:cubicBezTo>
                    <a:pt x="47680" y="281722"/>
                    <a:pt x="49278" y="279992"/>
                    <a:pt x="49544" y="277332"/>
                  </a:cubicBezTo>
                  <a:cubicBezTo>
                    <a:pt x="66169" y="223725"/>
                    <a:pt x="87552" y="180159"/>
                    <a:pt x="106515" y="138678"/>
                  </a:cubicBezTo>
                  <a:cubicBezTo>
                    <a:pt x="134286" y="83132"/>
                    <a:pt x="143584" y="65732"/>
                    <a:pt x="162984" y="29427"/>
                  </a:cubicBezTo>
                  <a:cubicBezTo>
                    <a:pt x="162984" y="29427"/>
                    <a:pt x="169030" y="1012"/>
                    <a:pt x="174747" y="57"/>
                  </a:cubicBezTo>
                  <a:close/>
                </a:path>
              </a:pathLst>
            </a:custGeom>
            <a:solidFill>
              <a:schemeClr val="bg1"/>
            </a:solidFill>
            <a:ln w="8638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BDAA7CEC-0DA0-4A9E-94B7-2B915E47E09D}"/>
                </a:ext>
              </a:extLst>
            </p:cNvPr>
            <p:cNvSpPr/>
            <p:nvPr/>
          </p:nvSpPr>
          <p:spPr>
            <a:xfrm>
              <a:off x="2446563" y="5878112"/>
              <a:ext cx="24588" cy="24581"/>
            </a:xfrm>
            <a:custGeom>
              <a:avLst/>
              <a:gdLst>
                <a:gd name="connsiteX0" fmla="*/ 55639 w 105759"/>
                <a:gd name="connsiteY0" fmla="*/ 105490 h 105729"/>
                <a:gd name="connsiteX1" fmla="*/ -441 w 105759"/>
                <a:gd name="connsiteY1" fmla="*/ 61149 h 105729"/>
                <a:gd name="connsiteX2" fmla="*/ 17818 w 105759"/>
                <a:gd name="connsiteY2" fmla="*/ 18112 h 105729"/>
                <a:gd name="connsiteX3" fmla="*/ 60857 w 105759"/>
                <a:gd name="connsiteY3" fmla="*/ -146 h 105729"/>
                <a:gd name="connsiteX4" fmla="*/ 93462 w 105759"/>
                <a:gd name="connsiteY4" fmla="*/ 14199 h 105729"/>
                <a:gd name="connsiteX5" fmla="*/ 105200 w 105759"/>
                <a:gd name="connsiteY5" fmla="*/ 46803 h 105729"/>
                <a:gd name="connsiteX6" fmla="*/ 90853 w 105759"/>
                <a:gd name="connsiteY6" fmla="*/ 89840 h 105729"/>
                <a:gd name="connsiteX7" fmla="*/ 55639 w 105759"/>
                <a:gd name="connsiteY7" fmla="*/ 105490 h 105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5759" h="105729">
                  <a:moveTo>
                    <a:pt x="55639" y="105490"/>
                  </a:moveTo>
                  <a:cubicBezTo>
                    <a:pt x="18251" y="102881"/>
                    <a:pt x="-441" y="88101"/>
                    <a:pt x="-441" y="61149"/>
                  </a:cubicBezTo>
                  <a:cubicBezTo>
                    <a:pt x="428" y="44630"/>
                    <a:pt x="6514" y="30284"/>
                    <a:pt x="17818" y="18112"/>
                  </a:cubicBezTo>
                  <a:cubicBezTo>
                    <a:pt x="29991" y="5940"/>
                    <a:pt x="44335" y="-146"/>
                    <a:pt x="60857" y="-146"/>
                  </a:cubicBezTo>
                  <a:cubicBezTo>
                    <a:pt x="73898" y="-146"/>
                    <a:pt x="84768" y="4635"/>
                    <a:pt x="93462" y="14199"/>
                  </a:cubicBezTo>
                  <a:cubicBezTo>
                    <a:pt x="102157" y="23763"/>
                    <a:pt x="106069" y="34631"/>
                    <a:pt x="105200" y="46803"/>
                  </a:cubicBezTo>
                  <a:cubicBezTo>
                    <a:pt x="103460" y="64191"/>
                    <a:pt x="98678" y="78537"/>
                    <a:pt x="90853" y="89840"/>
                  </a:cubicBezTo>
                  <a:cubicBezTo>
                    <a:pt x="83028" y="101143"/>
                    <a:pt x="71291" y="106360"/>
                    <a:pt x="55639" y="105490"/>
                  </a:cubicBezTo>
                  <a:close/>
                </a:path>
              </a:pathLst>
            </a:custGeom>
            <a:solidFill>
              <a:schemeClr val="accent2"/>
            </a:solidFill>
            <a:ln w="8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057747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976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/Sub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3BFEB-E3E2-40B7-A253-8DF9A4ADA8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1347732"/>
            <a:ext cx="11582400" cy="404868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spcBef>
                <a:spcPts val="0"/>
              </a:spcBef>
              <a:buNone/>
              <a:defRPr sz="2000"/>
            </a:lvl1pPr>
          </a:lstStyle>
          <a:p>
            <a:pPr lvl="0"/>
            <a:r>
              <a:rPr lang="en-US"/>
              <a:t>[Subtitle]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0162BD97-CE5D-4353-8684-0E76CAC1F5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828800"/>
            <a:ext cx="11582400" cy="4572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76293CAC-E1C7-430F-9B47-1D1372474C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9DBFC91C-8CCE-4BFA-A2DB-040D53241C3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92BDF944-3173-46A4-AE85-8B2DF233C2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5450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ny Profil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133D873-0981-44B3-9F23-FE6A66F25CCB}"/>
              </a:ext>
            </a:extLst>
          </p:cNvPr>
          <p:cNvSpPr/>
          <p:nvPr userDrawn="1"/>
        </p:nvSpPr>
        <p:spPr bwMode="gray">
          <a:xfrm>
            <a:off x="4060824" y="1981200"/>
            <a:ext cx="4067176" cy="355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>
              <a:latin typeface="+mn-lt"/>
            </a:endParaRPr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7F5A84BC-8CC7-416E-9A02-8994A246FEE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24F236D9-79B7-45F4-A450-3A5A22D976B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800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62C69F86-EB6F-4E6A-A481-EF2943D418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4265612" y="3419022"/>
            <a:ext cx="3657600" cy="75202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72265DCB-702C-4B39-866D-759DBA9B8E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white">
          <a:xfrm>
            <a:off x="4265612" y="4267200"/>
            <a:ext cx="3657600" cy="7266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7229CF78-FD03-4D68-8B06-A070ACC258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F3E5A779-8138-44AD-8594-A3305B7734C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C64B3573-DB9B-417D-84AB-8F4B046431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17597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Full Imag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457200"/>
            <a:ext cx="121920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9EF93357-ACE0-401E-B673-E62DD3B4B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34299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Image Band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5">
            <a:extLst>
              <a:ext uri="{FF2B5EF4-FFF2-40B4-BE49-F238E27FC236}">
                <a16:creationId xmlns:a16="http://schemas.microsoft.com/office/drawing/2014/main" id="{28220791-D495-4D87-90C8-E922F6083CC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752600"/>
            <a:ext cx="12192000" cy="33782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982ECDED-16BD-46CC-9E54-CE94F63779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E5BC33B8-03C1-47C6-B7A6-54A66971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678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ccess Story (Unnam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57200"/>
            <a:ext cx="41148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en-US" dirty="0"/>
              <a:t>7 x ‘ 4.5 @ 96dpi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graphicFrame>
        <p:nvGraphicFramePr>
          <p:cNvPr id="8" name="Body Copy">
            <a:extLst>
              <a:ext uri="{FF2B5EF4-FFF2-40B4-BE49-F238E27FC236}">
                <a16:creationId xmlns:a16="http://schemas.microsoft.com/office/drawing/2014/main" id="{97B60F81-633F-4646-AA98-205101671A2A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786447254"/>
              </p:ext>
            </p:extLst>
          </p:nvPr>
        </p:nvGraphicFramePr>
        <p:xfrm>
          <a:off x="4419600" y="1855716"/>
          <a:ext cx="7467600" cy="4167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0780">
                  <a:extLst>
                    <a:ext uri="{9D8B030D-6E8A-4147-A177-3AD203B41FA5}">
                      <a16:colId xmlns:a16="http://schemas.microsoft.com/office/drawing/2014/main" val="946091691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1729550602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614543895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4208229438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081490778"/>
                    </a:ext>
                  </a:extLst>
                </a:gridCol>
              </a:tblGrid>
              <a:tr h="416716"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usiness need</a:t>
                      </a:r>
                      <a:r>
                        <a:rPr kumimoji="1" lang="en-US" sz="20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olution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utcomes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4790786"/>
                  </a:ext>
                </a:extLst>
              </a:tr>
            </a:tbl>
          </a:graphicData>
        </a:graphic>
      </p:graphicFrame>
      <p:sp>
        <p:nvSpPr>
          <p:cNvPr id="9" name="Title 3">
            <a:extLst>
              <a:ext uri="{FF2B5EF4-FFF2-40B4-BE49-F238E27FC236}">
                <a16:creationId xmlns:a16="http://schemas.microsoft.com/office/drawing/2014/main" id="{4403474F-4C11-4C2F-9EC3-2AA63BBDF2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19600" y="640080"/>
            <a:ext cx="7467600" cy="55220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defRPr lang="en-US" b="1" dirty="0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r>
              <a:rPr lang="en-US"/>
              <a:t>Generic Description of Client (Title Case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2E2D38-5330-481A-8A2D-27515EAB60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19600" y="1295400"/>
            <a:ext cx="7467600" cy="4572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60955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1219109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828662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243821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Subhead (Sentence case, no punctuation)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C834197-400F-446C-8C06-80562BDF75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19599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sz="1050"/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lang="en-GB" sz="1050"/>
              <a:t>Example: The client needed to boost operational efficiency, flexibility and agility so it could continuously respond to customer demand.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09CAB2B-0D59-4F3A-8262-32034F757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81825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The client partners with </a:t>
            </a:r>
            <a:b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</a:b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NTT DATA to manage IT infrastructure services — covering data </a:t>
            </a:r>
            <a:r>
              <a:rPr kumimoji="1" lang="en-US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center</a:t>
            </a: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 and help desk operations, security, servers, networking and messaging — so staff can focus on the core business.</a:t>
            </a:r>
            <a:endParaRPr lang="en-US" sz="1050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4C75FEB-4BF0-4940-9459-71F22DCD8AD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528048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227013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pPr marL="227013" lvl="0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444444"/>
                </a:solidFill>
                <a:ea typeface="Museo Sans For Dell" pitchFamily="2" charset="0"/>
              </a:rPr>
              <a:t>Bullets</a:t>
            </a:r>
            <a:endParaRPr kumimoji="1" lang="en-US" sz="1050">
              <a:solidFill>
                <a:srgbClr val="444444"/>
              </a:solidFill>
              <a:ea typeface="Museo Sans For Dell" pitchFamily="2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10DB331-BCC2-4933-82DD-8532EA7B4DB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19600" y="4876800"/>
            <a:ext cx="7467600" cy="1060839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-- Remove Before Presenting -- For the Development of “Success Stories” Only (unnamed or anonymous case studies)</a:t>
            </a:r>
          </a:p>
        </p:txBody>
      </p:sp>
    </p:spTree>
    <p:extLst>
      <p:ext uri="{BB962C8B-B14F-4D97-AF65-F5344CB8AC3E}">
        <p14:creationId xmlns:p14="http://schemas.microsoft.com/office/powerpoint/2010/main" val="2744002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lide - BH-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3113690"/>
            <a:ext cx="2080171" cy="374431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12832EA-CDD3-468B-986D-C2A74387AB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 dirty="0"/>
              <a:t>© 2022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4DD751-D7CE-4A02-94D3-1F2D41366F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6E4D8CF-0D05-45F7-8EE6-FF44BB9F9B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2800" y="1371600"/>
            <a:ext cx="8229600" cy="4495800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+mj-lt"/>
              <a:buAutoNum type="arabicPeriod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0BA10AE1-3D57-4205-BB6A-E3BB463E32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81000"/>
            <a:ext cx="11582400" cy="81128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/>
            </a:lvl1pPr>
          </a:lstStyle>
          <a:p>
            <a:r>
              <a:rPr lang="en-US" dirty="0"/>
              <a:t>[Title]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6FD1BB08-7F92-4AC5-95F5-578AB569465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6785C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92534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92">
          <p15:clr>
            <a:srgbClr val="FBAE40"/>
          </p15:clr>
        </p15:guide>
        <p15:guide id="3" pos="7488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uman Agenda Slide - BH-H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3113690"/>
            <a:ext cx="2080171" cy="3744310"/>
          </a:xfrm>
          <a:prstGeom prst="rect">
            <a:avLst/>
          </a:prstGeom>
        </p:spPr>
      </p:pic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A97DDC82-36D5-4738-989D-30338EA824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2800" y="1371600"/>
            <a:ext cx="8153400" cy="4800600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+mj-lt"/>
              <a:buAutoNum type="arabicPeriod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12832EA-CDD3-468B-986D-C2A74387AB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301752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defTabSz="609555"/>
            <a:r>
              <a:rPr lang="en-US" dirty="0"/>
              <a:t>© 2022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4DD751-D7CE-4A02-94D3-1F2D41366F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1084B5D6-E13F-49DD-9723-965CD01789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81000"/>
            <a:ext cx="11582400" cy="81128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Title]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FC4CCBF6-B1C3-46CC-A9D2-020E4383864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4292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92">
          <p15:clr>
            <a:srgbClr val="FBAE40"/>
          </p15:clr>
        </p15:guide>
        <p15:guide id="3" pos="7488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09FEE01-6D38-4AFF-8E39-8403A0C9ED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447800"/>
            <a:ext cx="11582400" cy="477012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0BA91AD-94D7-45DB-9DC0-AA0B54CD69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 dirty="0"/>
              <a:t>© 2022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875DB9-62CF-4691-983F-E0B1CA6CEBD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C2FECC32-09FA-4F0A-99B9-53FF86115D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/>
            </a:lvl1pPr>
          </a:lstStyle>
          <a:p>
            <a:r>
              <a:rPr lang="en-US" dirty="0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239987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  <p15:guide id="5" orient="horz" pos="288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9D32AD7-4EC4-4336-8E66-DAF3CD63E129}"/>
              </a:ext>
            </a:extLst>
          </p:cNvPr>
          <p:cNvCxnSpPr>
            <a:cxnSpLocks/>
          </p:cNvCxnSpPr>
          <p:nvPr userDrawn="1"/>
        </p:nvCxnSpPr>
        <p:spPr>
          <a:xfrm>
            <a:off x="6094413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A3F0FF2-9D07-4173-8901-D515EA8C80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1447800"/>
            <a:ext cx="5410200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5085B24-6983-47FE-AA4D-FD610A3D3BE7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321426" y="1447800"/>
            <a:ext cx="5413362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5135ECDE-9650-420F-B887-80D8299F5C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 dirty="0"/>
              <a:t>[Title]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C28CFF88-D122-4C72-90AF-98AEC7B19CF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 dirty="0"/>
              <a:t>© 2022 NTT DATA, Inc. All rights reserved.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A4634491-90BC-4AE1-BB5A-332230E4AA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6174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A4AC4E7-4E1D-4EEA-B383-BA8B1F15F7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199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53D318D-5BC0-4FD7-84F6-570AAD7A014D}"/>
              </a:ext>
            </a:extLst>
          </p:cNvPr>
          <p:cNvCxnSpPr>
            <a:cxnSpLocks/>
          </p:cNvCxnSpPr>
          <p:nvPr userDrawn="1"/>
        </p:nvCxnSpPr>
        <p:spPr>
          <a:xfrm>
            <a:off x="4184986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9893623-AAB5-4C02-BC15-F45AA3A235AA}"/>
              </a:ext>
            </a:extLst>
          </p:cNvPr>
          <p:cNvCxnSpPr>
            <a:cxnSpLocks/>
          </p:cNvCxnSpPr>
          <p:nvPr userDrawn="1"/>
        </p:nvCxnSpPr>
        <p:spPr>
          <a:xfrm>
            <a:off x="8007007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3">
            <a:extLst>
              <a:ext uri="{FF2B5EF4-FFF2-40B4-BE49-F238E27FC236}">
                <a16:creationId xmlns:a16="http://schemas.microsoft.com/office/drawing/2014/main" id="{767CBE20-A9B1-4A35-83D8-A73BEBC38B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3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 dirty="0"/>
              <a:t>[Title]</a:t>
            </a:r>
          </a:p>
        </p:txBody>
      </p: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53B5A437-9046-4D9A-B9A8-6545E19F54E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 dirty="0"/>
              <a:t>© 2022 NTT DATA, Inc. All rights reserved.</a:t>
            </a:r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B101C1CC-2FB9-44F0-AA12-C9ED7656440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5D0EF105-BA09-4670-B8E9-4C9C082BED0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279220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8C807397-FCCB-47FB-AD0D-F4EF80200F39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8101242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09822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7488">
          <p15:clr>
            <a:srgbClr val="FBAE40"/>
          </p15:clr>
        </p15:guide>
        <p15:guide id="4" pos="192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Horiz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D1B004D-3DA5-4FB1-86C3-AEE8370F2FDB}"/>
              </a:ext>
            </a:extLst>
          </p:cNvPr>
          <p:cNvCxnSpPr>
            <a:cxnSpLocks/>
          </p:cNvCxnSpPr>
          <p:nvPr userDrawn="1"/>
        </p:nvCxnSpPr>
        <p:spPr>
          <a:xfrm>
            <a:off x="446181" y="2955131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2C906EE-1306-469E-9B3A-03111095D817}"/>
              </a:ext>
            </a:extLst>
          </p:cNvPr>
          <p:cNvCxnSpPr>
            <a:cxnSpLocks/>
          </p:cNvCxnSpPr>
          <p:nvPr userDrawn="1"/>
        </p:nvCxnSpPr>
        <p:spPr>
          <a:xfrm>
            <a:off x="446181" y="4591845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B054C7E-EC6C-4C07-AE9B-BE8CF582738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447800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marL="225425" indent="-22542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E00503B-625A-40D6-A09F-268AABD4BA0D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69743" y="3084514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2085E28-D41A-4AB4-A103-F6E2760E09CD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57200" y="4721227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DD620418-EEB2-4760-B008-A8F072EDD2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 dirty="0"/>
              <a:t>[Title]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39B2C728-A5A1-4484-A619-4E9E480843E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 dirty="0"/>
              <a:t>© 2022 NTT DATA, Inc. All rights reserved.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EB014FE1-F0E6-4EE1-923A-906D66CBAB5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84926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  <p15:guide id="4" orient="horz" pos="912">
          <p15:clr>
            <a:srgbClr val="FBAE40"/>
          </p15:clr>
        </p15:guide>
        <p15:guide id="5" orient="horz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ny Profil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133D873-0981-44B3-9F23-FE6A66F25CCB}"/>
              </a:ext>
            </a:extLst>
          </p:cNvPr>
          <p:cNvSpPr/>
          <p:nvPr userDrawn="1"/>
        </p:nvSpPr>
        <p:spPr bwMode="gray">
          <a:xfrm>
            <a:off x="4060824" y="1981200"/>
            <a:ext cx="4067176" cy="355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>
              <a:latin typeface="+mn-lt"/>
            </a:endParaRPr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7F5A84BC-8CC7-416E-9A02-8994A246FEE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24F236D9-79B7-45F4-A450-3A5A22D976B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800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62C69F86-EB6F-4E6A-A481-EF2943D418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4265612" y="3419022"/>
            <a:ext cx="3657600" cy="75202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72265DCB-702C-4B39-866D-759DBA9B8E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white">
          <a:xfrm>
            <a:off x="4265612" y="4267200"/>
            <a:ext cx="3657600" cy="7266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7229CF78-FD03-4D68-8B06-A070ACC258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F3E5A779-8138-44AD-8594-A3305B7734C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C64B3573-DB9B-417D-84AB-8F4B046431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73017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/Sub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3BFEB-E3E2-40B7-A253-8DF9A4ADA8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1347732"/>
            <a:ext cx="11582400" cy="404868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spcBef>
                <a:spcPts val="0"/>
              </a:spcBef>
              <a:buNone/>
              <a:defRPr sz="2000"/>
            </a:lvl1pPr>
          </a:lstStyle>
          <a:p>
            <a:pPr lvl="0"/>
            <a:r>
              <a:rPr lang="en-US" dirty="0"/>
              <a:t>[Subtitle]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0162BD97-CE5D-4353-8684-0E76CAC1F5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828800"/>
            <a:ext cx="11582400" cy="4572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76293CAC-E1C7-430F-9B47-1D1372474C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 dirty="0"/>
              <a:t>[Title]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9DBFC91C-8CCE-4BFA-A2DB-040D53241C3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 dirty="0"/>
              <a:t>© 2022 NTT DATA, Inc. All rights reserved.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92BDF944-3173-46A4-AE85-8B2DF233C2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08949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ny Profil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133D873-0981-44B3-9F23-FE6A66F25CCB}"/>
              </a:ext>
            </a:extLst>
          </p:cNvPr>
          <p:cNvSpPr/>
          <p:nvPr userDrawn="1"/>
        </p:nvSpPr>
        <p:spPr bwMode="gray">
          <a:xfrm>
            <a:off x="4060824" y="1981200"/>
            <a:ext cx="4067176" cy="355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>
              <a:latin typeface="+mn-lt"/>
            </a:endParaRPr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7F5A84BC-8CC7-416E-9A02-8994A246FEE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24F236D9-79B7-45F4-A450-3A5A22D976B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800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62C69F86-EB6F-4E6A-A481-EF2943D418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4265612" y="3419022"/>
            <a:ext cx="3657600" cy="75202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72265DCB-702C-4B39-866D-759DBA9B8E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white">
          <a:xfrm>
            <a:off x="4265612" y="4267200"/>
            <a:ext cx="3657600" cy="7266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7229CF78-FD03-4D68-8B06-A070ACC258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 dirty="0"/>
              <a:t>[Title]</a:t>
            </a: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F3E5A779-8138-44AD-8594-A3305B7734C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 dirty="0"/>
              <a:t>© 2022 NTT DATA, Inc. All rights reserved.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C64B3573-DB9B-417D-84AB-8F4B046431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34269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Full Imag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457200"/>
            <a:ext cx="121920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9EF93357-ACE0-401E-B673-E62DD3B4B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 dirty="0"/>
              <a:t>[Titl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 dirty="0"/>
              <a:t>© 2022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00241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Image Band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5">
            <a:extLst>
              <a:ext uri="{FF2B5EF4-FFF2-40B4-BE49-F238E27FC236}">
                <a16:creationId xmlns:a16="http://schemas.microsoft.com/office/drawing/2014/main" id="{28220791-D495-4D87-90C8-E922F6083CC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752600"/>
            <a:ext cx="12192000" cy="33782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982ECDED-16BD-46CC-9E54-CE94F63779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 dirty="0"/>
              <a:t>© 2022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E5BC33B8-03C1-47C6-B7A6-54A66971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48814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ccess Story (Unnam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57200"/>
            <a:ext cx="41148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en-US" dirty="0"/>
              <a:t>7 x ‘ 4.5 @ 96dpi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 dirty="0"/>
              <a:t>© 2022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graphicFrame>
        <p:nvGraphicFramePr>
          <p:cNvPr id="8" name="Body Copy">
            <a:extLst>
              <a:ext uri="{FF2B5EF4-FFF2-40B4-BE49-F238E27FC236}">
                <a16:creationId xmlns:a16="http://schemas.microsoft.com/office/drawing/2014/main" id="{97B60F81-633F-4646-AA98-205101671A2A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786447254"/>
              </p:ext>
            </p:extLst>
          </p:nvPr>
        </p:nvGraphicFramePr>
        <p:xfrm>
          <a:off x="4419600" y="1855716"/>
          <a:ext cx="7467600" cy="4167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0780">
                  <a:extLst>
                    <a:ext uri="{9D8B030D-6E8A-4147-A177-3AD203B41FA5}">
                      <a16:colId xmlns:a16="http://schemas.microsoft.com/office/drawing/2014/main" val="946091691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1729550602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614543895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4208229438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081490778"/>
                    </a:ext>
                  </a:extLst>
                </a:gridCol>
              </a:tblGrid>
              <a:tr h="416716">
                <a:tc>
                  <a:txBody>
                    <a:bodyPr/>
                    <a:lstStyle/>
                    <a:p>
                      <a:r>
                        <a:rPr kumimoji="1" lang="en-US" sz="1800" b="0" kern="1200" dirty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usiness need</a:t>
                      </a:r>
                      <a:r>
                        <a:rPr kumimoji="1" lang="en-US" sz="2000" b="0" kern="1200" dirty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 dirty="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 dirty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olution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 dirty="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 dirty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utcomes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4790786"/>
                  </a:ext>
                </a:extLst>
              </a:tr>
            </a:tbl>
          </a:graphicData>
        </a:graphic>
      </p:graphicFrame>
      <p:sp>
        <p:nvSpPr>
          <p:cNvPr id="9" name="Title 3">
            <a:extLst>
              <a:ext uri="{FF2B5EF4-FFF2-40B4-BE49-F238E27FC236}">
                <a16:creationId xmlns:a16="http://schemas.microsoft.com/office/drawing/2014/main" id="{4403474F-4C11-4C2F-9EC3-2AA63BBDF2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19600" y="640080"/>
            <a:ext cx="7467600" cy="55220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defRPr lang="en-US" b="1" dirty="0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Generic Description of Client (Title Case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2E2D38-5330-481A-8A2D-27515EAB60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19600" y="1295400"/>
            <a:ext cx="7467600" cy="4572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60955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1219109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828662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243821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Subhead (Sentence case, no punctuation)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C834197-400F-446C-8C06-80562BDF75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19599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sz="1050"/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lang="en-GB" sz="1050" dirty="0"/>
              <a:t>Example: The client needed to boost operational efficiency, flexibility and agility so it could continuously respond to customer demand.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09CAB2B-0D59-4F3A-8262-32034F757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81825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kumimoji="1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The client partners with </a:t>
            </a:r>
            <a:br>
              <a:rPr kumimoji="1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</a:br>
            <a:r>
              <a:rPr kumimoji="1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NTT DATA to manage IT infrastructure services — covering data </a:t>
            </a:r>
            <a:r>
              <a:rPr kumimoji="1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center</a:t>
            </a:r>
            <a:r>
              <a:rPr kumimoji="1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 and help desk operations, security, servers, networking and messaging — so staff can focus on the core business.</a:t>
            </a:r>
            <a:endParaRPr lang="en-US" sz="1050" dirty="0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4C75FEB-4BF0-4940-9459-71F22DCD8AD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528048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227013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pPr marL="227013" lvl="0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444444"/>
                </a:solidFill>
                <a:ea typeface="Museo Sans For Dell" pitchFamily="2" charset="0"/>
              </a:rPr>
              <a:t>Bullets</a:t>
            </a:r>
            <a:endParaRPr kumimoji="1" lang="en-US" sz="1050" dirty="0">
              <a:solidFill>
                <a:srgbClr val="444444"/>
              </a:solidFill>
              <a:ea typeface="Museo Sans For Dell" pitchFamily="2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10DB331-BCC2-4933-82DD-8532EA7B4DB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19600" y="4876800"/>
            <a:ext cx="7467600" cy="1060839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-- Remove Before Presenting -- For the Development of “Success Stories” Only (unnamed or anonymous case studies)</a:t>
            </a:r>
          </a:p>
        </p:txBody>
      </p:sp>
    </p:spTree>
    <p:extLst>
      <p:ext uri="{BB962C8B-B14F-4D97-AF65-F5344CB8AC3E}">
        <p14:creationId xmlns:p14="http://schemas.microsoft.com/office/powerpoint/2010/main" val="11431584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Full Imag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457200"/>
            <a:ext cx="121920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9EF93357-ACE0-401E-B673-E62DD3B4B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60319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Image Band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5">
            <a:extLst>
              <a:ext uri="{FF2B5EF4-FFF2-40B4-BE49-F238E27FC236}">
                <a16:creationId xmlns:a16="http://schemas.microsoft.com/office/drawing/2014/main" id="{28220791-D495-4D87-90C8-E922F6083CC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752600"/>
            <a:ext cx="12192000" cy="33782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982ECDED-16BD-46CC-9E54-CE94F63779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E5BC33B8-03C1-47C6-B7A6-54A66971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21069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ccess Story (Unnam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57200"/>
            <a:ext cx="41148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en-US" dirty="0"/>
              <a:t>7 x ‘ 4.5 @ 96dpi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graphicFrame>
        <p:nvGraphicFramePr>
          <p:cNvPr id="8" name="Body Copy">
            <a:extLst>
              <a:ext uri="{FF2B5EF4-FFF2-40B4-BE49-F238E27FC236}">
                <a16:creationId xmlns:a16="http://schemas.microsoft.com/office/drawing/2014/main" id="{97B60F81-633F-4646-AA98-205101671A2A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786447254"/>
              </p:ext>
            </p:extLst>
          </p:nvPr>
        </p:nvGraphicFramePr>
        <p:xfrm>
          <a:off x="4419600" y="1855716"/>
          <a:ext cx="7467600" cy="4167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0780">
                  <a:extLst>
                    <a:ext uri="{9D8B030D-6E8A-4147-A177-3AD203B41FA5}">
                      <a16:colId xmlns:a16="http://schemas.microsoft.com/office/drawing/2014/main" val="946091691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1729550602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614543895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4208229438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081490778"/>
                    </a:ext>
                  </a:extLst>
                </a:gridCol>
              </a:tblGrid>
              <a:tr h="416716"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usiness need</a:t>
                      </a:r>
                      <a:r>
                        <a:rPr kumimoji="1" lang="en-US" sz="20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olution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utcomes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4790786"/>
                  </a:ext>
                </a:extLst>
              </a:tr>
            </a:tbl>
          </a:graphicData>
        </a:graphic>
      </p:graphicFrame>
      <p:sp>
        <p:nvSpPr>
          <p:cNvPr id="9" name="Title 3">
            <a:extLst>
              <a:ext uri="{FF2B5EF4-FFF2-40B4-BE49-F238E27FC236}">
                <a16:creationId xmlns:a16="http://schemas.microsoft.com/office/drawing/2014/main" id="{4403474F-4C11-4C2F-9EC3-2AA63BBDF2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19600" y="640080"/>
            <a:ext cx="7467600" cy="55220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defRPr lang="en-US" b="1" dirty="0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r>
              <a:rPr lang="en-US"/>
              <a:t>Generic Description of Client (Title Case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2E2D38-5330-481A-8A2D-27515EAB60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19600" y="1295400"/>
            <a:ext cx="7467600" cy="4572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60955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1219109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828662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243821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Subhead (Sentence case, no punctuation)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C834197-400F-446C-8C06-80562BDF75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19599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sz="1050"/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lang="en-GB" sz="1050"/>
              <a:t>Example: The client needed to boost operational efficiency, flexibility and agility so it could continuously respond to customer demand.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09CAB2B-0D59-4F3A-8262-32034F757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81825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The client partners with </a:t>
            </a:r>
            <a:b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</a:b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NTT DATA to manage IT infrastructure services — covering data </a:t>
            </a:r>
            <a:r>
              <a:rPr kumimoji="1" lang="en-US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center</a:t>
            </a: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 and help desk operations, security, servers, networking and messaging — so staff can focus on the core business.</a:t>
            </a:r>
            <a:endParaRPr lang="en-US" sz="1050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4C75FEB-4BF0-4940-9459-71F22DCD8AD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528048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227013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pPr marL="227013" lvl="0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444444"/>
                </a:solidFill>
                <a:ea typeface="Museo Sans For Dell" pitchFamily="2" charset="0"/>
              </a:rPr>
              <a:t>Bullets</a:t>
            </a:r>
            <a:endParaRPr kumimoji="1" lang="en-US" sz="1050">
              <a:solidFill>
                <a:srgbClr val="444444"/>
              </a:solidFill>
              <a:ea typeface="Museo Sans For Dell" pitchFamily="2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10DB331-BCC2-4933-82DD-8532EA7B4DB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19600" y="4876800"/>
            <a:ext cx="7467600" cy="1060839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-- Remove Before Presenting -- For the Development of “Success Stories” Only (unnamed or anonymous case studies)</a:t>
            </a:r>
          </a:p>
        </p:txBody>
      </p:sp>
    </p:spTree>
    <p:extLst>
      <p:ext uri="{BB962C8B-B14F-4D97-AF65-F5344CB8AC3E}">
        <p14:creationId xmlns:p14="http://schemas.microsoft.com/office/powerpoint/2010/main" val="3095019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lide - BH-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3113690"/>
            <a:ext cx="2080171" cy="374431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12832EA-CDD3-468B-986D-C2A74387AB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4DD751-D7CE-4A02-94D3-1F2D41366F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6E4D8CF-0D05-45F7-8EE6-FF44BB9F9B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2800" y="1371600"/>
            <a:ext cx="8229600" cy="4495800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+mj-lt"/>
              <a:buAutoNum type="arabicPeriod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0BA10AE1-3D57-4205-BB6A-E3BB463E32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81000"/>
            <a:ext cx="11582400" cy="81128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6FD1BB08-7F92-4AC5-95F5-578AB569465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6785C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9620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92">
          <p15:clr>
            <a:srgbClr val="FBAE40"/>
          </p15:clr>
        </p15:guide>
        <p15:guide id="3" pos="7488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uman Agenda Slide - BH-H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3113690"/>
            <a:ext cx="2080171" cy="3744310"/>
          </a:xfrm>
          <a:prstGeom prst="rect">
            <a:avLst/>
          </a:prstGeom>
        </p:spPr>
      </p:pic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A97DDC82-36D5-4738-989D-30338EA824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2800" y="1371600"/>
            <a:ext cx="8153400" cy="4800600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+mj-lt"/>
              <a:buAutoNum type="arabicPeriod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12832EA-CDD3-468B-986D-C2A74387AB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301752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4DD751-D7CE-4A02-94D3-1F2D41366F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1084B5D6-E13F-49DD-9723-965CD01789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81000"/>
            <a:ext cx="11582400" cy="81128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>
                <a:solidFill>
                  <a:schemeClr val="bg1"/>
                </a:solidFill>
              </a:defRPr>
            </a:lvl1pPr>
          </a:lstStyle>
          <a:p>
            <a:r>
              <a:rPr lang="en-US"/>
              <a:t>[Title]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FC4CCBF6-B1C3-46CC-A9D2-020E4383864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59496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92">
          <p15:clr>
            <a:srgbClr val="FBAE40"/>
          </p15:clr>
        </p15:guide>
        <p15:guide id="3" pos="7488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09FEE01-6D38-4AFF-8E39-8403A0C9ED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447800"/>
            <a:ext cx="11582400" cy="477012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0BA91AD-94D7-45DB-9DC0-AA0B54CD69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875DB9-62CF-4691-983F-E0B1CA6CEBD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C2FECC32-09FA-4F0A-99B9-53FF86115D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32167893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  <p15:guide id="5" orient="horz" pos="288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9D32AD7-4EC4-4336-8E66-DAF3CD63E129}"/>
              </a:ext>
            </a:extLst>
          </p:cNvPr>
          <p:cNvCxnSpPr>
            <a:cxnSpLocks/>
          </p:cNvCxnSpPr>
          <p:nvPr userDrawn="1"/>
        </p:nvCxnSpPr>
        <p:spPr>
          <a:xfrm>
            <a:off x="6094413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A3F0FF2-9D07-4173-8901-D515EA8C80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1447800"/>
            <a:ext cx="5410200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5085B24-6983-47FE-AA4D-FD610A3D3BE7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321426" y="1447800"/>
            <a:ext cx="5413362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5135ECDE-9650-420F-B887-80D8299F5C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C28CFF88-D122-4C72-90AF-98AEC7B19CF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A4634491-90BC-4AE1-BB5A-332230E4AA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70413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A4AC4E7-4E1D-4EEA-B383-BA8B1F15F7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199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53D318D-5BC0-4FD7-84F6-570AAD7A014D}"/>
              </a:ext>
            </a:extLst>
          </p:cNvPr>
          <p:cNvCxnSpPr>
            <a:cxnSpLocks/>
          </p:cNvCxnSpPr>
          <p:nvPr userDrawn="1"/>
        </p:nvCxnSpPr>
        <p:spPr>
          <a:xfrm>
            <a:off x="4184986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9893623-AAB5-4C02-BC15-F45AA3A235AA}"/>
              </a:ext>
            </a:extLst>
          </p:cNvPr>
          <p:cNvCxnSpPr>
            <a:cxnSpLocks/>
          </p:cNvCxnSpPr>
          <p:nvPr userDrawn="1"/>
        </p:nvCxnSpPr>
        <p:spPr>
          <a:xfrm>
            <a:off x="8007007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3">
            <a:extLst>
              <a:ext uri="{FF2B5EF4-FFF2-40B4-BE49-F238E27FC236}">
                <a16:creationId xmlns:a16="http://schemas.microsoft.com/office/drawing/2014/main" id="{767CBE20-A9B1-4A35-83D8-A73BEBC38B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3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53B5A437-9046-4D9A-B9A8-6545E19F54E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B101C1CC-2FB9-44F0-AA12-C9ED7656440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5D0EF105-BA09-4670-B8E9-4C9C082BED0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279220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8C807397-FCCB-47FB-AD0D-F4EF80200F39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8101242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180657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7488">
          <p15:clr>
            <a:srgbClr val="FBAE40"/>
          </p15:clr>
        </p15:guide>
        <p15:guide id="4" pos="19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ccess Story (Unnam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57200"/>
            <a:ext cx="41148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en-US" dirty="0"/>
              <a:t>7 x ‘ 4.5 @ 96dpi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19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graphicFrame>
        <p:nvGraphicFramePr>
          <p:cNvPr id="8" name="Body Copy">
            <a:extLst>
              <a:ext uri="{FF2B5EF4-FFF2-40B4-BE49-F238E27FC236}">
                <a16:creationId xmlns:a16="http://schemas.microsoft.com/office/drawing/2014/main" id="{97B60F81-633F-4646-AA98-205101671A2A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802652896"/>
              </p:ext>
            </p:extLst>
          </p:nvPr>
        </p:nvGraphicFramePr>
        <p:xfrm>
          <a:off x="4419600" y="1855716"/>
          <a:ext cx="7467600" cy="4167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0780">
                  <a:extLst>
                    <a:ext uri="{9D8B030D-6E8A-4147-A177-3AD203B41FA5}">
                      <a16:colId xmlns:a16="http://schemas.microsoft.com/office/drawing/2014/main" val="946091691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1729550602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614543895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4208229438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081490778"/>
                    </a:ext>
                  </a:extLst>
                </a:gridCol>
              </a:tblGrid>
              <a:tr h="416716">
                <a:tc>
                  <a:txBody>
                    <a:bodyPr/>
                    <a:lstStyle/>
                    <a:p>
                      <a:r>
                        <a:rPr kumimoji="1" lang="en-US" sz="1800" b="1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usiness Need</a:t>
                      </a:r>
                      <a:r>
                        <a:rPr kumimoji="1" lang="en-US" sz="2000" b="1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1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1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olution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1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1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utcomes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4790786"/>
                  </a:ext>
                </a:extLst>
              </a:tr>
            </a:tbl>
          </a:graphicData>
        </a:graphic>
      </p:graphicFrame>
      <p:sp>
        <p:nvSpPr>
          <p:cNvPr id="9" name="Title 3">
            <a:extLst>
              <a:ext uri="{FF2B5EF4-FFF2-40B4-BE49-F238E27FC236}">
                <a16:creationId xmlns:a16="http://schemas.microsoft.com/office/drawing/2014/main" id="{4403474F-4C11-4C2F-9EC3-2AA63BBDF2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19600" y="640080"/>
            <a:ext cx="7467600" cy="55220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defRPr lang="en-US" b="1" dirty="0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r>
              <a:rPr lang="en-US"/>
              <a:t>Generic Description of Client (Title Case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2E2D38-5330-481A-8A2D-27515EAB60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19600" y="1295400"/>
            <a:ext cx="7467600" cy="4572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60955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1219109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828662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243821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Subhead (Sentence case, no punctuation)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C834197-400F-446C-8C06-80562BDF75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19599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sz="1050"/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lang="en-GB" sz="1050"/>
              <a:t>Example: The client needed to boost operational efficiency, flexibility and agility so it could continuously respond to customer demand.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09CAB2B-0D59-4F3A-8262-32034F757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81825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The client partners with </a:t>
            </a:r>
            <a:b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</a:b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NTT DATA to manage IT infrastructure services — covering data </a:t>
            </a:r>
            <a:r>
              <a:rPr kumimoji="1" lang="en-US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center</a:t>
            </a: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 and help desk operations, security, servers, networking and messaging — so staff can focus on the core business.</a:t>
            </a:r>
            <a:endParaRPr lang="en-US" sz="1050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4C75FEB-4BF0-4940-9459-71F22DCD8AD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528048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227013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pPr marL="227013" lvl="0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444444"/>
                </a:solidFill>
                <a:ea typeface="Museo Sans For Dell" pitchFamily="2" charset="0"/>
              </a:rPr>
              <a:t>Bullets</a:t>
            </a:r>
            <a:endParaRPr kumimoji="1" lang="en-US" sz="1050">
              <a:solidFill>
                <a:srgbClr val="444444"/>
              </a:solidFill>
              <a:ea typeface="Museo Sans For Dell" pitchFamily="2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10DB331-BCC2-4933-82DD-8532EA7B4DB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19600" y="4876800"/>
            <a:ext cx="7467600" cy="1060839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-- Remove Before Presenting -- For the Development of “Success Stories” Only (unnamed or anonymous case studies)</a:t>
            </a:r>
          </a:p>
        </p:txBody>
      </p:sp>
    </p:spTree>
    <p:extLst>
      <p:ext uri="{BB962C8B-B14F-4D97-AF65-F5344CB8AC3E}">
        <p14:creationId xmlns:p14="http://schemas.microsoft.com/office/powerpoint/2010/main" val="32151966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Horiz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D1B004D-3DA5-4FB1-86C3-AEE8370F2FDB}"/>
              </a:ext>
            </a:extLst>
          </p:cNvPr>
          <p:cNvCxnSpPr>
            <a:cxnSpLocks/>
          </p:cNvCxnSpPr>
          <p:nvPr userDrawn="1"/>
        </p:nvCxnSpPr>
        <p:spPr>
          <a:xfrm>
            <a:off x="446181" y="2955131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2C906EE-1306-469E-9B3A-03111095D817}"/>
              </a:ext>
            </a:extLst>
          </p:cNvPr>
          <p:cNvCxnSpPr>
            <a:cxnSpLocks/>
          </p:cNvCxnSpPr>
          <p:nvPr userDrawn="1"/>
        </p:nvCxnSpPr>
        <p:spPr>
          <a:xfrm>
            <a:off x="446181" y="4591845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B054C7E-EC6C-4C07-AE9B-BE8CF582738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447800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marL="225425" indent="-22542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E00503B-625A-40D6-A09F-268AABD4BA0D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69743" y="3084514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2085E28-D41A-4AB4-A103-F6E2760E09CD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57200" y="4721227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DD620418-EEB2-4760-B008-A8F072EDD2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39B2C728-A5A1-4484-A619-4E9E480843E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EB014FE1-F0E6-4EE1-923A-906D66CBAB5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17643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  <p15:guide id="4" orient="horz" pos="912">
          <p15:clr>
            <a:srgbClr val="FBAE40"/>
          </p15:clr>
        </p15:guide>
        <p15:guide id="5" orient="horz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/Sub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3BFEB-E3E2-40B7-A253-8DF9A4ADA8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1347732"/>
            <a:ext cx="11582400" cy="404868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spcBef>
                <a:spcPts val="0"/>
              </a:spcBef>
              <a:buNone/>
              <a:defRPr sz="2000"/>
            </a:lvl1pPr>
          </a:lstStyle>
          <a:p>
            <a:pPr lvl="0"/>
            <a:r>
              <a:rPr lang="en-US"/>
              <a:t>[Subtitle]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0162BD97-CE5D-4353-8684-0E76CAC1F5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828800"/>
            <a:ext cx="11582400" cy="4572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76293CAC-E1C7-430F-9B47-1D1372474C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9DBFC91C-8CCE-4BFA-A2DB-040D53241C3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92BDF944-3173-46A4-AE85-8B2DF233C2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69929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ny Profil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133D873-0981-44B3-9F23-FE6A66F25CCB}"/>
              </a:ext>
            </a:extLst>
          </p:cNvPr>
          <p:cNvSpPr/>
          <p:nvPr userDrawn="1"/>
        </p:nvSpPr>
        <p:spPr bwMode="gray">
          <a:xfrm>
            <a:off x="4060824" y="1981200"/>
            <a:ext cx="4067176" cy="355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>
              <a:latin typeface="+mn-lt"/>
            </a:endParaRPr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7F5A84BC-8CC7-416E-9A02-8994A246FEE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24F236D9-79B7-45F4-A450-3A5A22D976B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800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62C69F86-EB6F-4E6A-A481-EF2943D418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4265612" y="3419022"/>
            <a:ext cx="3657600" cy="75202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72265DCB-702C-4B39-866D-759DBA9B8E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white">
          <a:xfrm>
            <a:off x="4265612" y="4267200"/>
            <a:ext cx="3657600" cy="7266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7229CF78-FD03-4D68-8B06-A070ACC258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F3E5A779-8138-44AD-8594-A3305B7734C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C64B3573-DB9B-417D-84AB-8F4B046431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61729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Full Imag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457200"/>
            <a:ext cx="121920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9EF93357-ACE0-401E-B673-E62DD3B4B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23957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Image Band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5">
            <a:extLst>
              <a:ext uri="{FF2B5EF4-FFF2-40B4-BE49-F238E27FC236}">
                <a16:creationId xmlns:a16="http://schemas.microsoft.com/office/drawing/2014/main" id="{28220791-D495-4D87-90C8-E922F6083CC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752600"/>
            <a:ext cx="12192000" cy="33782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982ECDED-16BD-46CC-9E54-CE94F63779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E5BC33B8-03C1-47C6-B7A6-54A66971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40634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ccess Story (Unnam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57200"/>
            <a:ext cx="41148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en-US" dirty="0"/>
              <a:t>7 x ‘ 4.5 @ 96dpi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graphicFrame>
        <p:nvGraphicFramePr>
          <p:cNvPr id="8" name="Body Copy">
            <a:extLst>
              <a:ext uri="{FF2B5EF4-FFF2-40B4-BE49-F238E27FC236}">
                <a16:creationId xmlns:a16="http://schemas.microsoft.com/office/drawing/2014/main" id="{97B60F81-633F-4646-AA98-205101671A2A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024538528"/>
              </p:ext>
            </p:extLst>
          </p:nvPr>
        </p:nvGraphicFramePr>
        <p:xfrm>
          <a:off x="4419600" y="1855716"/>
          <a:ext cx="7467600" cy="4167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0780">
                  <a:extLst>
                    <a:ext uri="{9D8B030D-6E8A-4147-A177-3AD203B41FA5}">
                      <a16:colId xmlns:a16="http://schemas.microsoft.com/office/drawing/2014/main" val="946091691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1729550602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614543895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4208229438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081490778"/>
                    </a:ext>
                  </a:extLst>
                </a:gridCol>
              </a:tblGrid>
              <a:tr h="416716"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Value Proposition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18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utcomes Delivered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18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Differentiators 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4790786"/>
                  </a:ext>
                </a:extLst>
              </a:tr>
            </a:tbl>
          </a:graphicData>
        </a:graphic>
      </p:graphicFrame>
      <p:sp>
        <p:nvSpPr>
          <p:cNvPr id="9" name="Title 3">
            <a:extLst>
              <a:ext uri="{FF2B5EF4-FFF2-40B4-BE49-F238E27FC236}">
                <a16:creationId xmlns:a16="http://schemas.microsoft.com/office/drawing/2014/main" id="{4403474F-4C11-4C2F-9EC3-2AA63BBDF2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19600" y="640080"/>
            <a:ext cx="7467600" cy="55220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defRPr lang="en-US" b="1" dirty="0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r>
              <a:rPr lang="en-US"/>
              <a:t>Generic Description of Client (Title Case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2E2D38-5330-481A-8A2D-27515EAB60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19600" y="1295400"/>
            <a:ext cx="7467600" cy="4572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60955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1219109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828662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243821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Subhead (Sentence case, no punctuation)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C834197-400F-446C-8C06-80562BDF75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19599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sz="1050"/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lang="en-GB" sz="1050"/>
              <a:t>Example: The client needed to boost operational efficiency, flexibility and agility so it could continuously respond to customer demand.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09CAB2B-0D59-4F3A-8262-32034F757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81825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The client partners with </a:t>
            </a:r>
            <a:b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</a:b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NTT DATA to manage IT infrastructure services — covering data </a:t>
            </a:r>
            <a:r>
              <a:rPr kumimoji="1" lang="en-US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center</a:t>
            </a: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 and help desk operations, security, servers, networking and messaging — so staff can focus on the core business.</a:t>
            </a:r>
            <a:endParaRPr lang="en-US" sz="1050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4C75FEB-4BF0-4940-9459-71F22DCD8AD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528048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227013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pPr marL="227013" lvl="0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444444"/>
                </a:solidFill>
                <a:ea typeface="Museo Sans For Dell" pitchFamily="2" charset="0"/>
              </a:rPr>
              <a:t>Bullets</a:t>
            </a:r>
            <a:endParaRPr kumimoji="1" lang="en-US" sz="1050">
              <a:solidFill>
                <a:srgbClr val="444444"/>
              </a:solidFill>
              <a:ea typeface="Museo Sans For Dell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84645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609441" y="1066800"/>
            <a:ext cx="10969943" cy="51054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173736" y="0"/>
            <a:ext cx="10515600" cy="722376"/>
          </a:xfrm>
          <a:prstGeom prst="rect">
            <a:avLst/>
          </a:prstGeom>
        </p:spPr>
        <p:txBody>
          <a:bodyPr tIns="109728" anchor="ctr"/>
          <a:lstStyle>
            <a:lvl1pPr marL="226468" marR="0" indent="-226468" algn="l" defTabSz="6095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 kumimoji="1" lang="en-US" sz="2400" kern="1200" spc="0" baseline="0">
                <a:solidFill>
                  <a:schemeClr val="tx1"/>
                </a:solidFill>
                <a:latin typeface="+mn-lt"/>
                <a:ea typeface="+mj-ea"/>
                <a:cs typeface="Arial"/>
              </a:defRPr>
            </a:lvl1pPr>
          </a:lstStyle>
          <a:p>
            <a:pPr marL="226468" marR="0" lvl="0" indent="-226468" algn="l" defTabSz="6095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en-US" altLang="ja-JP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347973647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3786134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29889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Rectangle 17"/>
          <p:cNvSpPr/>
          <p:nvPr userDrawn="1"/>
        </p:nvSpPr>
        <p:spPr>
          <a:xfrm>
            <a:off x="0" y="6434124"/>
            <a:ext cx="12192000" cy="424800"/>
          </a:xfrm>
          <a:prstGeom prst="rect">
            <a:avLst/>
          </a:prstGeom>
          <a:solidFill>
            <a:srgbClr val="6785C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b="0" i="0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2"/>
          <p:cNvSpPr txBox="1"/>
          <p:nvPr userDrawn="1"/>
        </p:nvSpPr>
        <p:spPr>
          <a:xfrm>
            <a:off x="715441" y="6593330"/>
            <a:ext cx="3149600" cy="123111"/>
          </a:xfrm>
          <a:prstGeom prst="rect">
            <a:avLst/>
          </a:prstGeom>
          <a:noFill/>
        </p:spPr>
        <p:txBody>
          <a:bodyPr tIns="0" bIns="0">
            <a:spAutoFit/>
          </a:bodyPr>
          <a:lstStyle/>
          <a:p>
            <a:pPr marL="0" marR="0" indent="0" algn="l" defTabSz="6095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© 2019 NTT DATA, Inc. All rights reserved.</a:t>
            </a:r>
          </a:p>
        </p:txBody>
      </p:sp>
      <p:sp>
        <p:nvSpPr>
          <p:cNvPr id="12" name="TextBox 16"/>
          <p:cNvSpPr txBox="1"/>
          <p:nvPr userDrawn="1"/>
        </p:nvSpPr>
        <p:spPr>
          <a:xfrm>
            <a:off x="5761153" y="6551482"/>
            <a:ext cx="670231" cy="184666"/>
          </a:xfrm>
          <a:prstGeom prst="rect">
            <a:avLst/>
          </a:prstGeom>
          <a:noFill/>
        </p:spPr>
        <p:txBody>
          <a:bodyPr wrap="square" tIns="0" bIns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0F9AC1C8-10F2-4A77-9A6E-9375F974715F}" type="slidenum">
              <a:rPr lang="en-US" sz="1200" b="0" i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200" b="0" i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3" name="図 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6519" y="6503753"/>
            <a:ext cx="1178351" cy="296173"/>
          </a:xfrm>
          <a:prstGeom prst="rect">
            <a:avLst/>
          </a:prstGeom>
        </p:spPr>
      </p:pic>
      <p:pic>
        <p:nvPicPr>
          <p:cNvPr id="14" name="図 19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5581651"/>
            <a:ext cx="709083" cy="1276350"/>
          </a:xfrm>
          <a:prstGeom prst="rect">
            <a:avLst/>
          </a:prstGeom>
        </p:spPr>
      </p:pic>
      <p:sp>
        <p:nvSpPr>
          <p:cNvPr id="15" name="Copyright" hidden="1"/>
          <p:cNvSpPr txBox="1"/>
          <p:nvPr userDrawn="1"/>
        </p:nvSpPr>
        <p:spPr>
          <a:xfrm rot="16200000">
            <a:off x="9486900" y="3558401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47546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8.02.2018_DWS CE Summit deck_vFinal.pptx</a:t>
            </a:r>
          </a:p>
        </p:txBody>
      </p:sp>
    </p:spTree>
    <p:extLst>
      <p:ext uri="{BB962C8B-B14F-4D97-AF65-F5344CB8AC3E}">
        <p14:creationId xmlns:p14="http://schemas.microsoft.com/office/powerpoint/2010/main" val="2599398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Slide - Smart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5">
            <a:extLst>
              <a:ext uri="{FF2B5EF4-FFF2-40B4-BE49-F238E27FC236}">
                <a16:creationId xmlns:a16="http://schemas.microsoft.com/office/drawing/2014/main" id="{998ED156-1AB5-4B96-BB64-69BB7DD751EA}"/>
              </a:ext>
            </a:extLst>
          </p:cNvPr>
          <p:cNvSpPr>
            <a:spLocks/>
          </p:cNvSpPr>
          <p:nvPr userDrawn="1"/>
        </p:nvSpPr>
        <p:spPr bwMode="auto">
          <a:xfrm>
            <a:off x="3175" y="0"/>
            <a:ext cx="5224380" cy="6858000"/>
          </a:xfrm>
          <a:custGeom>
            <a:avLst/>
            <a:gdLst>
              <a:gd name="T0" fmla="*/ 1111 w 1691"/>
              <a:gd name="T1" fmla="*/ 1108 h 2215"/>
              <a:gd name="T2" fmla="*/ 1108 w 1691"/>
              <a:gd name="T3" fmla="*/ 1108 h 2215"/>
              <a:gd name="T4" fmla="*/ 1108 w 1691"/>
              <a:gd name="T5" fmla="*/ 1102 h 2215"/>
              <a:gd name="T6" fmla="*/ 815 w 1691"/>
              <a:gd name="T7" fmla="*/ 569 h 2215"/>
              <a:gd name="T8" fmla="*/ 0 w 1691"/>
              <a:gd name="T9" fmla="*/ 0 h 2215"/>
              <a:gd name="T10" fmla="*/ 0 w 1691"/>
              <a:gd name="T11" fmla="*/ 1108 h 2215"/>
              <a:gd name="T12" fmla="*/ 0 w 1691"/>
              <a:gd name="T13" fmla="*/ 1213 h 2215"/>
              <a:gd name="T14" fmla="*/ 34 w 1691"/>
              <a:gd name="T15" fmla="*/ 1257 h 2215"/>
              <a:gd name="T16" fmla="*/ 522 w 1691"/>
              <a:gd name="T17" fmla="*/ 2215 h 2215"/>
              <a:gd name="T18" fmla="*/ 1108 w 1691"/>
              <a:gd name="T19" fmla="*/ 2215 h 2215"/>
              <a:gd name="T20" fmla="*/ 1691 w 1691"/>
              <a:gd name="T21" fmla="*/ 2215 h 2215"/>
              <a:gd name="T22" fmla="*/ 1111 w 1691"/>
              <a:gd name="T23" fmla="*/ 1108 h 22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691" h="2215">
                <a:moveTo>
                  <a:pt x="1111" y="1108"/>
                </a:moveTo>
                <a:cubicBezTo>
                  <a:pt x="1108" y="1108"/>
                  <a:pt x="1108" y="1108"/>
                  <a:pt x="1108" y="1108"/>
                </a:cubicBezTo>
                <a:cubicBezTo>
                  <a:pt x="1108" y="1102"/>
                  <a:pt x="1108" y="1102"/>
                  <a:pt x="1108" y="1102"/>
                </a:cubicBezTo>
                <a:cubicBezTo>
                  <a:pt x="965" y="833"/>
                  <a:pt x="857" y="635"/>
                  <a:pt x="815" y="569"/>
                </a:cubicBezTo>
                <a:cubicBezTo>
                  <a:pt x="624" y="269"/>
                  <a:pt x="397" y="50"/>
                  <a:pt x="0" y="0"/>
                </a:cubicBezTo>
                <a:cubicBezTo>
                  <a:pt x="0" y="1108"/>
                  <a:pt x="0" y="1108"/>
                  <a:pt x="0" y="1108"/>
                </a:cubicBezTo>
                <a:cubicBezTo>
                  <a:pt x="0" y="1213"/>
                  <a:pt x="0" y="1213"/>
                  <a:pt x="0" y="1213"/>
                </a:cubicBezTo>
                <a:cubicBezTo>
                  <a:pt x="13" y="1224"/>
                  <a:pt x="24" y="1239"/>
                  <a:pt x="34" y="1257"/>
                </a:cubicBezTo>
                <a:cubicBezTo>
                  <a:pt x="42" y="1273"/>
                  <a:pt x="250" y="1684"/>
                  <a:pt x="522" y="2215"/>
                </a:cubicBezTo>
                <a:cubicBezTo>
                  <a:pt x="1108" y="2215"/>
                  <a:pt x="1108" y="2215"/>
                  <a:pt x="1108" y="2215"/>
                </a:cubicBezTo>
                <a:cubicBezTo>
                  <a:pt x="1691" y="2215"/>
                  <a:pt x="1691" y="2215"/>
                  <a:pt x="1691" y="2215"/>
                </a:cubicBezTo>
                <a:cubicBezTo>
                  <a:pt x="1483" y="1814"/>
                  <a:pt x="1274" y="1415"/>
                  <a:pt x="1111" y="1108"/>
                </a:cubicBezTo>
                <a:close/>
              </a:path>
            </a:pathLst>
          </a:custGeom>
          <a:solidFill>
            <a:srgbClr val="006E9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7CA1AC40-D53C-4673-9DC3-B02402F9747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600" y="6556248"/>
            <a:ext cx="2194560" cy="182880"/>
          </a:xfrm>
          <a:prstGeom prst="rect">
            <a:avLst/>
          </a:prstGeom>
        </p:spPr>
        <p:txBody>
          <a:bodyPr anchor="ctr"/>
          <a:lstStyle>
            <a:defPPr>
              <a:defRPr lang="ja-JP"/>
            </a:defPPr>
            <a:lvl1pPr marL="0" algn="l" defTabSz="914400" rtl="0" eaLnBrk="1" latinLnBrk="0" hangingPunct="1">
              <a:defRPr kumimoji="1"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09555"/>
            <a:r>
              <a:rPr lang="en-US"/>
              <a:t>© 2020 NTT DATA, Inc. All rights reserved.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6CDF98F7-BF4B-495B-85C0-8FAC45DA4E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defPPr>
              <a:defRPr lang="ja-JP"/>
            </a:defPPr>
            <a:lvl1pPr marL="0" algn="l" defTabSz="914400" rtl="0" eaLnBrk="1" latinLnBrk="0" hangingPunct="1">
              <a:defRPr kumimoji="1"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pic>
        <p:nvPicPr>
          <p:cNvPr id="9" name="図 3">
            <a:extLst>
              <a:ext uri="{FF2B5EF4-FFF2-40B4-BE49-F238E27FC236}">
                <a16:creationId xmlns:a16="http://schemas.microsoft.com/office/drawing/2014/main" id="{06188DEE-51DF-415F-8479-CBF2FFBD2A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6520" y="6481775"/>
            <a:ext cx="1178351" cy="296174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A8203C1-F66F-4CD4-A085-98D0ECF26A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62400" y="1295400"/>
            <a:ext cx="7543800" cy="43434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609556" indent="0">
              <a:buNone/>
              <a:defRPr>
                <a:solidFill>
                  <a:schemeClr val="bg1"/>
                </a:solidFill>
              </a:defRPr>
            </a:lvl2pPr>
            <a:lvl3pPr marL="1219109" indent="0">
              <a:buNone/>
              <a:defRPr>
                <a:solidFill>
                  <a:schemeClr val="bg1"/>
                </a:solidFill>
              </a:defRPr>
            </a:lvl3pPr>
            <a:lvl4pPr marL="1828662" indent="0">
              <a:buNone/>
              <a:defRPr>
                <a:solidFill>
                  <a:schemeClr val="bg1"/>
                </a:solidFill>
              </a:defRPr>
            </a:lvl4pPr>
            <a:lvl5pPr marL="2438216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[Middle Title Page]</a:t>
            </a:r>
          </a:p>
        </p:txBody>
      </p:sp>
    </p:spTree>
    <p:extLst>
      <p:ext uri="{BB962C8B-B14F-4D97-AF65-F5344CB8AC3E}">
        <p14:creationId xmlns:p14="http://schemas.microsoft.com/office/powerpoint/2010/main" val="11470001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2">
          <p15:clr>
            <a:srgbClr val="FBAE40"/>
          </p15:clr>
        </p15:guide>
        <p15:guide id="2" pos="748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09FEE01-6D38-4AFF-8E39-8403A0C9ED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447800"/>
            <a:ext cx="11582400" cy="477012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0BA91AD-94D7-45DB-9DC0-AA0B54CD69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875DB9-62CF-4691-983F-E0B1CA6CEBD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C2FECC32-09FA-4F0A-99B9-53FF86115D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12378540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  <p15:guide id="5" orient="horz" pos="2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lide - BH-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3113690"/>
            <a:ext cx="2080171" cy="374431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12832EA-CDD3-468B-986D-C2A74387AB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4DD751-D7CE-4A02-94D3-1F2D41366F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6E4D8CF-0D05-45F7-8EE6-FF44BB9F9B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2800" y="1371600"/>
            <a:ext cx="8229600" cy="4495800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+mj-lt"/>
              <a:buAutoNum type="arabicPeriod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0BA10AE1-3D57-4205-BB6A-E3BB463E32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81000"/>
            <a:ext cx="11582400" cy="81128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6FD1BB08-7F92-4AC5-95F5-578AB569465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6785C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6574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92">
          <p15:clr>
            <a:srgbClr val="FBAE40"/>
          </p15:clr>
        </p15:guide>
        <p15:guide id="3" pos="7488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uman Agenda Slide - BH-H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3113690"/>
            <a:ext cx="2080171" cy="3744310"/>
          </a:xfrm>
          <a:prstGeom prst="rect">
            <a:avLst/>
          </a:prstGeom>
        </p:spPr>
      </p:pic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A97DDC82-36D5-4738-989D-30338EA824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2800" y="1371600"/>
            <a:ext cx="8153400" cy="4800600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+mj-lt"/>
              <a:buAutoNum type="arabicPeriod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12832EA-CDD3-468B-986D-C2A74387AB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301752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4DD751-D7CE-4A02-94D3-1F2D41366F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1084B5D6-E13F-49DD-9723-965CD01789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81000"/>
            <a:ext cx="11582400" cy="81128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>
                <a:solidFill>
                  <a:schemeClr val="bg1"/>
                </a:solidFill>
              </a:defRPr>
            </a:lvl1pPr>
          </a:lstStyle>
          <a:p>
            <a:r>
              <a:rPr lang="en-US"/>
              <a:t>[Title]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FC4CCBF6-B1C3-46CC-A9D2-020E4383864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35953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92">
          <p15:clr>
            <a:srgbClr val="FBAE40"/>
          </p15:clr>
        </p15:guide>
        <p15:guide id="3" pos="7488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09FEE01-6D38-4AFF-8E39-8403A0C9ED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447800"/>
            <a:ext cx="11582400" cy="477012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875DB9-62CF-4691-983F-E0B1CA6CEBD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C2FECC32-09FA-4F0A-99B9-53FF86115D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3E4FB29-DABE-4E18-917D-F3F9A2C6A5C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9454410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  <p15:guide id="5" orient="horz" pos="28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9D32AD7-4EC4-4336-8E66-DAF3CD63E129}"/>
              </a:ext>
            </a:extLst>
          </p:cNvPr>
          <p:cNvCxnSpPr>
            <a:cxnSpLocks/>
          </p:cNvCxnSpPr>
          <p:nvPr userDrawn="1"/>
        </p:nvCxnSpPr>
        <p:spPr>
          <a:xfrm>
            <a:off x="6094413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A3F0FF2-9D07-4173-8901-D515EA8C80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1447800"/>
            <a:ext cx="5410200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5085B24-6983-47FE-AA4D-FD610A3D3BE7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321426" y="1447800"/>
            <a:ext cx="5413362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5135ECDE-9650-420F-B887-80D8299F5C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A4634491-90BC-4AE1-BB5A-332230E4AA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C48569EF-9E3B-4F91-B9BD-C26679E0114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240403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A4AC4E7-4E1D-4EEA-B383-BA8B1F15F7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199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53D318D-5BC0-4FD7-84F6-570AAD7A014D}"/>
              </a:ext>
            </a:extLst>
          </p:cNvPr>
          <p:cNvCxnSpPr>
            <a:cxnSpLocks/>
          </p:cNvCxnSpPr>
          <p:nvPr userDrawn="1"/>
        </p:nvCxnSpPr>
        <p:spPr>
          <a:xfrm>
            <a:off x="4184986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9893623-AAB5-4C02-BC15-F45AA3A235AA}"/>
              </a:ext>
            </a:extLst>
          </p:cNvPr>
          <p:cNvCxnSpPr>
            <a:cxnSpLocks/>
          </p:cNvCxnSpPr>
          <p:nvPr userDrawn="1"/>
        </p:nvCxnSpPr>
        <p:spPr>
          <a:xfrm>
            <a:off x="8007007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3">
            <a:extLst>
              <a:ext uri="{FF2B5EF4-FFF2-40B4-BE49-F238E27FC236}">
                <a16:creationId xmlns:a16="http://schemas.microsoft.com/office/drawing/2014/main" id="{767CBE20-A9B1-4A35-83D8-A73BEBC38B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3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B101C1CC-2FB9-44F0-AA12-C9ED7656440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5D0EF105-BA09-4670-B8E9-4C9C082BED0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279220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8C807397-FCCB-47FB-AD0D-F4EF80200F39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8101242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20A429B0-869F-492C-A6FE-40F96BF05A6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8591146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7488">
          <p15:clr>
            <a:srgbClr val="FBAE40"/>
          </p15:clr>
        </p15:guide>
        <p15:guide id="4" pos="192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Horiz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D1B004D-3DA5-4FB1-86C3-AEE8370F2FDB}"/>
              </a:ext>
            </a:extLst>
          </p:cNvPr>
          <p:cNvCxnSpPr>
            <a:cxnSpLocks/>
          </p:cNvCxnSpPr>
          <p:nvPr userDrawn="1"/>
        </p:nvCxnSpPr>
        <p:spPr>
          <a:xfrm>
            <a:off x="446181" y="2955131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2C906EE-1306-469E-9B3A-03111095D817}"/>
              </a:ext>
            </a:extLst>
          </p:cNvPr>
          <p:cNvCxnSpPr>
            <a:cxnSpLocks/>
          </p:cNvCxnSpPr>
          <p:nvPr userDrawn="1"/>
        </p:nvCxnSpPr>
        <p:spPr>
          <a:xfrm>
            <a:off x="446181" y="4591845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B054C7E-EC6C-4C07-AE9B-BE8CF582738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447800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marL="225425" indent="-22542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E00503B-625A-40D6-A09F-268AABD4BA0D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69743" y="3084514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2085E28-D41A-4AB4-A103-F6E2760E09CD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57200" y="4721227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DD620418-EEB2-4760-B008-A8F072EDD2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EB014FE1-F0E6-4EE1-923A-906D66CBAB5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20306D03-F2F4-41A1-BEE3-BC78921D411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752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815211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  <p15:guide id="4" orient="horz" pos="912">
          <p15:clr>
            <a:srgbClr val="FBAE40"/>
          </p15:clr>
        </p15:guide>
        <p15:guide id="5" orient="horz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/Sub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3BFEB-E3E2-40B7-A253-8DF9A4ADA8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1347732"/>
            <a:ext cx="11582400" cy="404868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spcBef>
                <a:spcPts val="0"/>
              </a:spcBef>
              <a:buNone/>
              <a:defRPr sz="2000"/>
            </a:lvl1pPr>
          </a:lstStyle>
          <a:p>
            <a:pPr lvl="0"/>
            <a:r>
              <a:rPr lang="en-US"/>
              <a:t>[Subtitle]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0162BD97-CE5D-4353-8684-0E76CAC1F5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828800"/>
            <a:ext cx="11582400" cy="4572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76293CAC-E1C7-430F-9B47-1D1372474C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92BDF944-3173-46A4-AE85-8B2DF233C2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46C6DE5C-C496-4E79-B50E-57B5F035A6C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510911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ny Profil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133D873-0981-44B3-9F23-FE6A66F25CCB}"/>
              </a:ext>
            </a:extLst>
          </p:cNvPr>
          <p:cNvSpPr/>
          <p:nvPr userDrawn="1"/>
        </p:nvSpPr>
        <p:spPr bwMode="gray">
          <a:xfrm>
            <a:off x="4060824" y="1981200"/>
            <a:ext cx="4067176" cy="355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>
              <a:latin typeface="+mn-lt"/>
            </a:endParaRPr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7F5A84BC-8CC7-416E-9A02-8994A246FEE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24F236D9-79B7-45F4-A450-3A5A22D976B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800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62C69F86-EB6F-4E6A-A481-EF2943D418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4265612" y="3419022"/>
            <a:ext cx="3657600" cy="75202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72265DCB-702C-4B39-866D-759DBA9B8E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white">
          <a:xfrm>
            <a:off x="4265612" y="4267200"/>
            <a:ext cx="3657600" cy="7266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7229CF78-FD03-4D68-8B06-A070ACC258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C64B3573-DB9B-417D-84AB-8F4B046431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6E25C5E7-2DBF-4B82-AD9E-C5BE5CF2A1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163574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Full Imag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457200"/>
            <a:ext cx="121920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9EF93357-ACE0-401E-B673-E62DD3B4B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83791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Image Band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5">
            <a:extLst>
              <a:ext uri="{FF2B5EF4-FFF2-40B4-BE49-F238E27FC236}">
                <a16:creationId xmlns:a16="http://schemas.microsoft.com/office/drawing/2014/main" id="{28220791-D495-4D87-90C8-E922F6083CC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752600"/>
            <a:ext cx="12192000" cy="33782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E5BC33B8-03C1-47C6-B7A6-54A66971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DFCD505E-80D7-4421-A676-CB1FA6CBB58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752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048901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lide - BH-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3113690"/>
            <a:ext cx="2080171" cy="374431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12832EA-CDD3-468B-986D-C2A74387AB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4DD751-D7CE-4A02-94D3-1F2D41366F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6E4D8CF-0D05-45F7-8EE6-FF44BB9F9B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2800" y="1371600"/>
            <a:ext cx="8229600" cy="4495800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+mj-lt"/>
              <a:buAutoNum type="arabicPeriod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0BA10AE1-3D57-4205-BB6A-E3BB463E32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81000"/>
            <a:ext cx="11582400" cy="81128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6FD1BB08-7F92-4AC5-95F5-578AB569465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6785C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19276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92">
          <p15:clr>
            <a:srgbClr val="FBAE40"/>
          </p15:clr>
        </p15:guide>
        <p15:guide id="3" pos="74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ccess Story (Unnam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57200"/>
            <a:ext cx="41148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en-US" dirty="0"/>
              <a:t>7 x ‘ 4.5 @ 96dpi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graphicFrame>
        <p:nvGraphicFramePr>
          <p:cNvPr id="8" name="Body Copy">
            <a:extLst>
              <a:ext uri="{FF2B5EF4-FFF2-40B4-BE49-F238E27FC236}">
                <a16:creationId xmlns:a16="http://schemas.microsoft.com/office/drawing/2014/main" id="{97B60F81-633F-4646-AA98-205101671A2A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786447254"/>
              </p:ext>
            </p:extLst>
          </p:nvPr>
        </p:nvGraphicFramePr>
        <p:xfrm>
          <a:off x="4419600" y="1855716"/>
          <a:ext cx="7467600" cy="4167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0780">
                  <a:extLst>
                    <a:ext uri="{9D8B030D-6E8A-4147-A177-3AD203B41FA5}">
                      <a16:colId xmlns:a16="http://schemas.microsoft.com/office/drawing/2014/main" val="946091691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1729550602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614543895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4208229438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081490778"/>
                    </a:ext>
                  </a:extLst>
                </a:gridCol>
              </a:tblGrid>
              <a:tr h="416716"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usiness need</a:t>
                      </a:r>
                      <a:r>
                        <a:rPr kumimoji="1" lang="en-US" sz="20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olution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utcomes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4790786"/>
                  </a:ext>
                </a:extLst>
              </a:tr>
            </a:tbl>
          </a:graphicData>
        </a:graphic>
      </p:graphicFrame>
      <p:sp>
        <p:nvSpPr>
          <p:cNvPr id="9" name="Title 3">
            <a:extLst>
              <a:ext uri="{FF2B5EF4-FFF2-40B4-BE49-F238E27FC236}">
                <a16:creationId xmlns:a16="http://schemas.microsoft.com/office/drawing/2014/main" id="{4403474F-4C11-4C2F-9EC3-2AA63BBDF2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19600" y="640080"/>
            <a:ext cx="7467600" cy="55220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defRPr lang="en-US" b="1" dirty="0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r>
              <a:rPr lang="en-US"/>
              <a:t>Generic Description of Client (Title Case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2E2D38-5330-481A-8A2D-27515EAB60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19600" y="1295400"/>
            <a:ext cx="7467600" cy="4572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60955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1219109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828662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243821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Subhead (Sentence case, no punctuation)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C834197-400F-446C-8C06-80562BDF75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19599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sz="1050"/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lang="en-GB" sz="1050"/>
              <a:t>Example: The client needed to boost operational efficiency, flexibility and agility so it could continuously respond to customer demand.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09CAB2B-0D59-4F3A-8262-32034F757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81825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The client partners with </a:t>
            </a:r>
            <a:b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</a:b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NTT DATA to manage IT infrastructure services — covering data </a:t>
            </a:r>
            <a:r>
              <a:rPr kumimoji="1" lang="en-US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center</a:t>
            </a: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 and help desk operations, security, servers, networking and messaging — so staff can focus on the core business.</a:t>
            </a:r>
            <a:endParaRPr lang="en-US" sz="1050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4C75FEB-4BF0-4940-9459-71F22DCD8AD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528048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227013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pPr marL="227013" lvl="0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444444"/>
                </a:solidFill>
                <a:ea typeface="Museo Sans For Dell" pitchFamily="2" charset="0"/>
              </a:rPr>
              <a:t>Bullets</a:t>
            </a:r>
            <a:endParaRPr kumimoji="1" lang="en-US" sz="1050">
              <a:solidFill>
                <a:srgbClr val="444444"/>
              </a:solidFill>
              <a:ea typeface="Museo Sans For Dell" pitchFamily="2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10DB331-BCC2-4933-82DD-8532EA7B4DB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19600" y="4876800"/>
            <a:ext cx="7467600" cy="1060839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-- Remove Before Presenting -- For the Development of “Success Stories” Only (unnamed or anonymous case studies)</a:t>
            </a:r>
          </a:p>
        </p:txBody>
      </p:sp>
      <p:sp>
        <p:nvSpPr>
          <p:cNvPr id="12" name="Footer Placeholder 1">
            <a:extLst>
              <a:ext uri="{FF2B5EF4-FFF2-40B4-BE49-F238E27FC236}">
                <a16:creationId xmlns:a16="http://schemas.microsoft.com/office/drawing/2014/main" id="{4F2838D0-4A76-4085-8DBC-86BAB938A16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1752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812503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 -  (White Logotyp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candelabrum, night, lined, line&#10;&#10;Description automatically generated">
            <a:extLst>
              <a:ext uri="{FF2B5EF4-FFF2-40B4-BE49-F238E27FC236}">
                <a16:creationId xmlns:a16="http://schemas.microsoft.com/office/drawing/2014/main" id="{68612FE1-D606-4B72-9C9E-82EB0998CD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540" b="2323"/>
          <a:stretch/>
        </p:blipFill>
        <p:spPr>
          <a:xfrm>
            <a:off x="0" y="0"/>
            <a:ext cx="12188952" cy="5600598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524AFE7-3CD8-4A0C-A4AD-EB89B9CADDCC}"/>
              </a:ext>
            </a:extLst>
          </p:cNvPr>
          <p:cNvSpPr/>
          <p:nvPr userDrawn="1"/>
        </p:nvSpPr>
        <p:spPr>
          <a:xfrm>
            <a:off x="-118" y="0"/>
            <a:ext cx="12192119" cy="1618314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0"/>
                </a:schemeClr>
              </a:gs>
              <a:gs pos="100000">
                <a:schemeClr val="tx2"/>
              </a:gs>
            </a:gsLst>
            <a:lin ang="16200000" scaled="1"/>
            <a:tileRect/>
          </a:gradFill>
          <a:ln w="12700" cap="flat"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en-US" sz="1400"/>
          </a:p>
        </p:txBody>
      </p:sp>
      <p:sp>
        <p:nvSpPr>
          <p:cNvPr id="14" name="正方形/長方形 13"/>
          <p:cNvSpPr/>
          <p:nvPr userDrawn="1"/>
        </p:nvSpPr>
        <p:spPr>
          <a:xfrm>
            <a:off x="5" y="4719561"/>
            <a:ext cx="12192119" cy="213843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>
              <a:solidFill>
                <a:srgbClr val="FFFFFF"/>
              </a:solidFill>
              <a:latin typeface="HGPGothicE" charset="-128"/>
              <a:ea typeface="HGPGothicE" charset="-128"/>
            </a:endParaRPr>
          </a:p>
        </p:txBody>
      </p:sp>
      <p:pic>
        <p:nvPicPr>
          <p:cNvPr id="18" name="図 1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1200"/>
            <a:ext cx="3575998" cy="6436801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2681822" y="1892305"/>
            <a:ext cx="184731" cy="46166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endParaRPr lang="en-US" sz="2400">
              <a:solidFill>
                <a:srgbClr val="404040"/>
              </a:solidFill>
              <a:latin typeface="HGPGothicE" charset="-128"/>
              <a:ea typeface="HGPGothicE" charset="-128"/>
            </a:endParaRPr>
          </a:p>
        </p:txBody>
      </p:sp>
      <p:sp>
        <p:nvSpPr>
          <p:cNvPr id="27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886200" y="5932849"/>
            <a:ext cx="7696200" cy="792088"/>
          </a:xfrm>
          <a:prstGeom prst="rect">
            <a:avLst/>
          </a:prstGeom>
          <a:effectLst/>
        </p:spPr>
        <p:txBody>
          <a:bodyPr anchor="t">
            <a:normAutofit/>
          </a:bodyPr>
          <a:lstStyle>
            <a:lvl1pPr marL="0" indent="0" fontAlgn="ctr">
              <a:spcBef>
                <a:spcPts val="0"/>
              </a:spcBef>
              <a:buNone/>
              <a:defRPr sz="1600" b="0" i="0" baseline="0">
                <a:solidFill>
                  <a:srgbClr val="FFFFFF"/>
                </a:solidFill>
                <a:latin typeface="+mn-lt"/>
                <a:ea typeface="HGPGothicE" charset="-128"/>
                <a:cs typeface="HGPGothicE" charset="-128"/>
              </a:defRPr>
            </a:lvl1pPr>
            <a:lvl2pPr marL="609555" indent="0">
              <a:buNone/>
              <a:defRPr sz="140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defRPr>
            </a:lvl2pPr>
            <a:lvl3pPr marL="1219110" indent="0">
              <a:buNone/>
              <a:defRPr sz="140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defRPr>
            </a:lvl3pPr>
            <a:lvl4pPr marL="182866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21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772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32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6880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435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ja-JP"/>
              <a:t>&lt;MM/DD/YYYY&gt;</a:t>
            </a:r>
            <a:br>
              <a:rPr lang="en-US" altLang="ja-JP"/>
            </a:br>
            <a:r>
              <a:rPr lang="en-US" altLang="ja-JP"/>
              <a:t>&lt;NTT DATA Corporation&gt;</a:t>
            </a:r>
            <a:br>
              <a:rPr lang="en-US" altLang="ja-JP"/>
            </a:br>
            <a:r>
              <a:rPr lang="en-US" altLang="ja-JP"/>
              <a:t>&lt;XXXXXXXXXXXX&gt;</a:t>
            </a:r>
          </a:p>
        </p:txBody>
      </p:sp>
      <p:sp>
        <p:nvSpPr>
          <p:cNvPr id="10" name="TextBox 12"/>
          <p:cNvSpPr txBox="1"/>
          <p:nvPr userDrawn="1"/>
        </p:nvSpPr>
        <p:spPr>
          <a:xfrm>
            <a:off x="9892519" y="6597352"/>
            <a:ext cx="2156360" cy="123111"/>
          </a:xfrm>
          <a:prstGeom prst="rect">
            <a:avLst/>
          </a:prstGeom>
          <a:noFill/>
        </p:spPr>
        <p:txBody>
          <a:bodyPr wrap="none" tIns="0" bIns="0">
            <a:spAutoFit/>
          </a:bodyPr>
          <a:lstStyle/>
          <a:p>
            <a:pPr algn="r" defTabSz="609555">
              <a:defRPr/>
            </a:pPr>
            <a:r>
              <a:rPr kumimoji="0" lang="en-US" altLang="ja-JP" sz="800">
                <a:solidFill>
                  <a:srgbClr val="FFFFFF"/>
                </a:solidFill>
                <a:ea typeface="HGPGothicE" charset="-128"/>
                <a:cs typeface="Meiryo UI" pitchFamily="50" charset="-128"/>
              </a:rPr>
              <a:t>© 2022 NTT DATA, Inc.</a:t>
            </a:r>
            <a:r>
              <a:rPr kumimoji="0" lang="en-US" altLang="ja-JP" sz="800" baseline="0">
                <a:solidFill>
                  <a:srgbClr val="FFFFFF"/>
                </a:solidFill>
                <a:ea typeface="HGPGothicE" charset="-128"/>
                <a:cs typeface="Meiryo UI" pitchFamily="50" charset="-128"/>
              </a:rPr>
              <a:t> All rights reserved.</a:t>
            </a:r>
            <a:endParaRPr kumimoji="0" lang="en-US" altLang="ja-JP" sz="800">
              <a:solidFill>
                <a:srgbClr val="FFFFFF"/>
              </a:solidFill>
              <a:ea typeface="HGPGothicE" charset="-128"/>
              <a:cs typeface="Meiryo UI" pitchFamily="50" charset="-128"/>
            </a:endParaRPr>
          </a:p>
        </p:txBody>
      </p:sp>
      <p:pic>
        <p:nvPicPr>
          <p:cNvPr id="11" name="Picture 14">
            <a:extLst>
              <a:ext uri="{FF2B5EF4-FFF2-40B4-BE49-F238E27FC236}">
                <a16:creationId xmlns:a16="http://schemas.microsoft.com/office/drawing/2014/main" id="{54C5CEBE-BF39-4093-A05B-37176107DDB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9413807" y="172529"/>
            <a:ext cx="2617572" cy="89400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90B8E2-81B7-4E50-BE03-266CFC7061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6200" y="4858123"/>
            <a:ext cx="7710854" cy="10164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144264588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with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187428" y="762000"/>
            <a:ext cx="11828759" cy="3048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t>Click to add subtitle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173736" y="0"/>
            <a:ext cx="10515600" cy="722376"/>
          </a:xfrm>
          <a:prstGeom prst="rect">
            <a:avLst/>
          </a:prstGeom>
        </p:spPr>
        <p:txBody>
          <a:bodyPr tIns="109728" anchor="ctr"/>
          <a:lstStyle>
            <a:lvl1pPr marL="226468" marR="0" indent="-226468" algn="l" defTabSz="6095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 kumimoji="1" lang="en-US" sz="2400" kern="1200" spc="0" baseline="0">
                <a:solidFill>
                  <a:schemeClr val="tx1"/>
                </a:solidFill>
                <a:latin typeface="+mn-lt"/>
                <a:ea typeface="+mj-ea"/>
                <a:cs typeface="Arial"/>
              </a:defRPr>
            </a:lvl1pPr>
          </a:lstStyle>
          <a:p>
            <a:pPr marL="226468" marR="0" lvl="0" indent="-226468" algn="l" defTabSz="6095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en-US" altLang="ja-JP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187050303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339115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テキスト プレースホルダー 9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" y="2902"/>
            <a:ext cx="11844000" cy="720000"/>
          </a:xfrm>
          <a:prstGeom prst="rect">
            <a:avLst/>
          </a:prstGeom>
        </p:spPr>
        <p:txBody>
          <a:bodyPr tIns="108000" anchor="ctr" anchorCtr="0">
            <a:normAutofit/>
          </a:bodyPr>
          <a:lstStyle>
            <a:lvl1pPr marL="0" indent="0">
              <a:buFont typeface="+mj-lt"/>
              <a:buNone/>
              <a:defRPr sz="2400" baseline="0"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pPr marL="226468" marR="0" lvl="0" indent="-226468" algn="l" defTabSz="6095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en-US" altLang="ja-JP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318315556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w/Subtitle and Contents - BF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3BFEB-E3E2-40B7-A253-8DF9A4ADA8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8601" y="822702"/>
            <a:ext cx="11734800" cy="381000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[Subtitle]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0162BD97-CE5D-4353-8684-0E76CAC1F5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8601" y="1447800"/>
            <a:ext cx="11734798" cy="46482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4DCE89E-B0BB-4DB0-B64E-C47E9E11292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defTabSz="609555"/>
            <a:r>
              <a:rPr lang="en-US"/>
              <a:t>© 2019 NTT DATA, Inc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866104-F1BE-4312-8D6F-A1C9DCFA9D9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1" name="タイトル 1">
            <a:extLst>
              <a:ext uri="{FF2B5EF4-FFF2-40B4-BE49-F238E27FC236}">
                <a16:creationId xmlns:a16="http://schemas.microsoft.com/office/drawing/2014/main" id="{3372FC32-76FC-4A0B-BE6A-7BF0D18AE9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8601" y="238125"/>
            <a:ext cx="11734800" cy="533400"/>
          </a:xfrm>
          <a:prstGeom prst="rect">
            <a:avLst/>
          </a:prstGeom>
        </p:spPr>
        <p:txBody>
          <a:bodyPr lIns="91440" tIns="0" bIns="0" anchor="t" anchorCtr="0">
            <a:noAutofit/>
          </a:bodyPr>
          <a:lstStyle>
            <a:lvl1pPr>
              <a:defRPr lang="en-US" altLang="ja-JP" spc="0" dirty="0" smtClean="0">
                <a:solidFill>
                  <a:schemeClr val="tx1"/>
                </a:solidFill>
                <a:latin typeface="+mj-ea"/>
                <a:ea typeface="+mj-ea"/>
                <a:cs typeface="Arial"/>
              </a:defRPr>
            </a:lvl1pPr>
          </a:lstStyle>
          <a:p>
            <a:pPr marL="226468" marR="0" lvl="0" indent="-226468" latinLnBrk="0">
              <a:lnSpc>
                <a:spcPct val="100000"/>
              </a:lnSpc>
              <a:spcBef>
                <a:spcPct val="20000"/>
              </a:spcBef>
              <a:buClrTx/>
              <a:buSzTx/>
              <a:buFont typeface="+mj-lt"/>
              <a:buNone/>
              <a:tabLst/>
            </a:pPr>
            <a:r>
              <a:rPr kumimoji="1" lang="en-US" altLang="ja-JP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20607389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480">
          <p15:clr>
            <a:srgbClr val="FBAE40"/>
          </p15:clr>
        </p15:guide>
        <p15:guide id="3" pos="144">
          <p15:clr>
            <a:srgbClr val="FBAE40"/>
          </p15:clr>
        </p15:guide>
        <p15:guide id="4" pos="7536">
          <p15:clr>
            <a:srgbClr val="FBAE40"/>
          </p15:clr>
        </p15:guide>
        <p15:guide id="5" orient="horz" pos="912">
          <p15:clr>
            <a:srgbClr val="FBAE40"/>
          </p15:clr>
        </p15:guide>
        <p15:guide id="6" orient="horz" pos="2352">
          <p15:clr>
            <a:srgbClr val="FBAE40"/>
          </p15:clr>
        </p15:guide>
        <p15:guide id="7" orient="horz" pos="384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with Full Image - BF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F39AFFB-49B2-40F2-A0B2-F831AF01E2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09555"/>
            <a:r>
              <a:rPr lang="en-US"/>
              <a:t>© 2019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A788E5C-D83B-4B39-B96E-D2F8F9AB1E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9E33CB52-140F-43B8-9740-0B9705DE11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8601" y="228600"/>
            <a:ext cx="11734800" cy="533400"/>
          </a:xfrm>
          <a:prstGeom prst="rect">
            <a:avLst/>
          </a:prstGeom>
        </p:spPr>
        <p:txBody>
          <a:bodyPr lIns="91440" tIns="0" bIns="0" anchor="t" anchorCtr="0">
            <a:noAutofit/>
          </a:bodyPr>
          <a:lstStyle>
            <a:lvl1pPr>
              <a:defRPr lang="en-US" altLang="ja-JP" spc="0" dirty="0" smtClean="0">
                <a:solidFill>
                  <a:schemeClr val="tx1"/>
                </a:solidFill>
                <a:latin typeface="+mj-ea"/>
                <a:ea typeface="+mj-ea"/>
                <a:cs typeface="Arial"/>
              </a:defRPr>
            </a:lvl1pPr>
          </a:lstStyle>
          <a:p>
            <a:pPr marL="226468" marR="0" lvl="0" indent="-226468" latinLnBrk="0">
              <a:lnSpc>
                <a:spcPct val="100000"/>
              </a:lnSpc>
              <a:spcBef>
                <a:spcPct val="20000"/>
              </a:spcBef>
              <a:buClrTx/>
              <a:buSzTx/>
              <a:buFont typeface="+mj-lt"/>
              <a:buNone/>
              <a:tabLst/>
            </a:pPr>
            <a:r>
              <a:rPr kumimoji="1" lang="en-US" altLang="ja-JP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3860195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44">
          <p15:clr>
            <a:srgbClr val="FBAE40"/>
          </p15:clr>
        </p15:guide>
        <p15:guide id="3" pos="7536">
          <p15:clr>
            <a:srgbClr val="FBAE40"/>
          </p15:clr>
        </p15:guide>
        <p15:guide id="4" orient="horz" pos="672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uccess Story (Unnam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57200"/>
            <a:ext cx="41148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en-US" dirty="0"/>
              <a:t>7 x ‘ 4.5 @ 96dpi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19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graphicFrame>
        <p:nvGraphicFramePr>
          <p:cNvPr id="8" name="Body Copy">
            <a:extLst>
              <a:ext uri="{FF2B5EF4-FFF2-40B4-BE49-F238E27FC236}">
                <a16:creationId xmlns:a16="http://schemas.microsoft.com/office/drawing/2014/main" id="{97B60F81-633F-4646-AA98-205101671A2A}"/>
              </a:ext>
            </a:extLst>
          </p:cNvPr>
          <p:cNvGraphicFramePr>
            <a:graphicFrameLocks noGrp="1"/>
          </p:cNvGraphicFramePr>
          <p:nvPr userDrawn="1"/>
        </p:nvGraphicFramePr>
        <p:xfrm>
          <a:off x="4419600" y="1855716"/>
          <a:ext cx="7467600" cy="4167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0780">
                  <a:extLst>
                    <a:ext uri="{9D8B030D-6E8A-4147-A177-3AD203B41FA5}">
                      <a16:colId xmlns:a16="http://schemas.microsoft.com/office/drawing/2014/main" val="946091691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1729550602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614543895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4208229438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081490778"/>
                    </a:ext>
                  </a:extLst>
                </a:gridCol>
              </a:tblGrid>
              <a:tr h="416716"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usiness need</a:t>
                      </a:r>
                      <a:r>
                        <a:rPr kumimoji="1" lang="en-US" sz="20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olution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utcomes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4790786"/>
                  </a:ext>
                </a:extLst>
              </a:tr>
            </a:tbl>
          </a:graphicData>
        </a:graphic>
      </p:graphicFrame>
      <p:sp>
        <p:nvSpPr>
          <p:cNvPr id="9" name="Title 3">
            <a:extLst>
              <a:ext uri="{FF2B5EF4-FFF2-40B4-BE49-F238E27FC236}">
                <a16:creationId xmlns:a16="http://schemas.microsoft.com/office/drawing/2014/main" id="{4403474F-4C11-4C2F-9EC3-2AA63BBDF2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19600" y="640080"/>
            <a:ext cx="7467600" cy="55220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defRPr lang="en-US" b="1" dirty="0">
                <a:solidFill>
                  <a:schemeClr val="accent2">
                    <a:lumMod val="75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Generic Description of Client (Title Case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2E2D38-5330-481A-8A2D-27515EAB60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19600" y="1295400"/>
            <a:ext cx="7467600" cy="4572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60955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1219109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828662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243821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Subhead (Sentence case, no punctuation)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C834197-400F-446C-8C06-80562BDF75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19599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sz="1050"/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lang="en-GB" sz="1050"/>
              <a:t>Example: The client needed to boost operational efficiency, flexibility and agility so it could continuously respond to customer demand.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09CAB2B-0D59-4F3A-8262-32034F757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81825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The client partners with </a:t>
            </a:r>
            <a:b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</a:b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NTT DATA to manage IT infrastructure services — covering data </a:t>
            </a:r>
            <a:r>
              <a:rPr kumimoji="1" lang="en-US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center</a:t>
            </a: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 and help desk operations, security, servers, networking and messaging — so staff can focus on the core business.</a:t>
            </a:r>
            <a:endParaRPr lang="en-US" sz="1050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4C75FEB-4BF0-4940-9459-71F22DCD8AD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528048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227013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pPr marL="227013" lvl="0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444444"/>
                </a:solidFill>
                <a:ea typeface="Museo Sans For Dell" pitchFamily="2" charset="0"/>
              </a:rPr>
              <a:t>Bullets</a:t>
            </a:r>
            <a:endParaRPr kumimoji="1" lang="en-US" sz="1050">
              <a:solidFill>
                <a:srgbClr val="444444"/>
              </a:solidFill>
              <a:ea typeface="Museo Sans For Dell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911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Slide - Green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5">
            <a:extLst>
              <a:ext uri="{FF2B5EF4-FFF2-40B4-BE49-F238E27FC236}">
                <a16:creationId xmlns:a16="http://schemas.microsoft.com/office/drawing/2014/main" id="{998ED156-1AB5-4B96-BB64-69BB7DD751EA}"/>
              </a:ext>
            </a:extLst>
          </p:cNvPr>
          <p:cNvSpPr>
            <a:spLocks/>
          </p:cNvSpPr>
          <p:nvPr userDrawn="1"/>
        </p:nvSpPr>
        <p:spPr bwMode="auto">
          <a:xfrm>
            <a:off x="3175" y="0"/>
            <a:ext cx="5224380" cy="6858000"/>
          </a:xfrm>
          <a:custGeom>
            <a:avLst/>
            <a:gdLst>
              <a:gd name="T0" fmla="*/ 1111 w 1691"/>
              <a:gd name="T1" fmla="*/ 1108 h 2215"/>
              <a:gd name="T2" fmla="*/ 1108 w 1691"/>
              <a:gd name="T3" fmla="*/ 1108 h 2215"/>
              <a:gd name="T4" fmla="*/ 1108 w 1691"/>
              <a:gd name="T5" fmla="*/ 1102 h 2215"/>
              <a:gd name="T6" fmla="*/ 815 w 1691"/>
              <a:gd name="T7" fmla="*/ 569 h 2215"/>
              <a:gd name="T8" fmla="*/ 0 w 1691"/>
              <a:gd name="T9" fmla="*/ 0 h 2215"/>
              <a:gd name="T10" fmla="*/ 0 w 1691"/>
              <a:gd name="T11" fmla="*/ 1108 h 2215"/>
              <a:gd name="T12" fmla="*/ 0 w 1691"/>
              <a:gd name="T13" fmla="*/ 1213 h 2215"/>
              <a:gd name="T14" fmla="*/ 34 w 1691"/>
              <a:gd name="T15" fmla="*/ 1257 h 2215"/>
              <a:gd name="T16" fmla="*/ 522 w 1691"/>
              <a:gd name="T17" fmla="*/ 2215 h 2215"/>
              <a:gd name="T18" fmla="*/ 1108 w 1691"/>
              <a:gd name="T19" fmla="*/ 2215 h 2215"/>
              <a:gd name="T20" fmla="*/ 1691 w 1691"/>
              <a:gd name="T21" fmla="*/ 2215 h 2215"/>
              <a:gd name="T22" fmla="*/ 1111 w 1691"/>
              <a:gd name="T23" fmla="*/ 1108 h 22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691" h="2215">
                <a:moveTo>
                  <a:pt x="1111" y="1108"/>
                </a:moveTo>
                <a:cubicBezTo>
                  <a:pt x="1108" y="1108"/>
                  <a:pt x="1108" y="1108"/>
                  <a:pt x="1108" y="1108"/>
                </a:cubicBezTo>
                <a:cubicBezTo>
                  <a:pt x="1108" y="1102"/>
                  <a:pt x="1108" y="1102"/>
                  <a:pt x="1108" y="1102"/>
                </a:cubicBezTo>
                <a:cubicBezTo>
                  <a:pt x="965" y="833"/>
                  <a:pt x="857" y="635"/>
                  <a:pt x="815" y="569"/>
                </a:cubicBezTo>
                <a:cubicBezTo>
                  <a:pt x="624" y="269"/>
                  <a:pt x="397" y="50"/>
                  <a:pt x="0" y="0"/>
                </a:cubicBezTo>
                <a:cubicBezTo>
                  <a:pt x="0" y="1108"/>
                  <a:pt x="0" y="1108"/>
                  <a:pt x="0" y="1108"/>
                </a:cubicBezTo>
                <a:cubicBezTo>
                  <a:pt x="0" y="1213"/>
                  <a:pt x="0" y="1213"/>
                  <a:pt x="0" y="1213"/>
                </a:cubicBezTo>
                <a:cubicBezTo>
                  <a:pt x="13" y="1224"/>
                  <a:pt x="24" y="1239"/>
                  <a:pt x="34" y="1257"/>
                </a:cubicBezTo>
                <a:cubicBezTo>
                  <a:pt x="42" y="1273"/>
                  <a:pt x="250" y="1684"/>
                  <a:pt x="522" y="2215"/>
                </a:cubicBezTo>
                <a:cubicBezTo>
                  <a:pt x="1108" y="2215"/>
                  <a:pt x="1108" y="2215"/>
                  <a:pt x="1108" y="2215"/>
                </a:cubicBezTo>
                <a:cubicBezTo>
                  <a:pt x="1691" y="2215"/>
                  <a:pt x="1691" y="2215"/>
                  <a:pt x="1691" y="2215"/>
                </a:cubicBezTo>
                <a:cubicBezTo>
                  <a:pt x="1483" y="1814"/>
                  <a:pt x="1274" y="1415"/>
                  <a:pt x="1111" y="1108"/>
                </a:cubicBezTo>
                <a:close/>
              </a:path>
            </a:pathLst>
          </a:custGeom>
          <a:solidFill>
            <a:srgbClr val="6D964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1C4E59A7-29AB-413D-999E-CE16C2494A4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0B4DD840-BBD0-42CF-AA51-B2D658DB29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62400" y="1295400"/>
            <a:ext cx="7543800" cy="43434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609556" indent="0">
              <a:buNone/>
              <a:defRPr>
                <a:solidFill>
                  <a:schemeClr val="bg1"/>
                </a:solidFill>
              </a:defRPr>
            </a:lvl2pPr>
            <a:lvl3pPr marL="1219109" indent="0">
              <a:buNone/>
              <a:defRPr>
                <a:solidFill>
                  <a:schemeClr val="bg1"/>
                </a:solidFill>
              </a:defRPr>
            </a:lvl3pPr>
            <a:lvl4pPr marL="1828662" indent="0">
              <a:buNone/>
              <a:defRPr>
                <a:solidFill>
                  <a:schemeClr val="bg1"/>
                </a:solidFill>
              </a:defRPr>
            </a:lvl4pPr>
            <a:lvl5pPr marL="2438216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[Middle Title Page]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A1F59812-0A57-4D06-8C90-0F39D7BFE4C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95D1EB72-428F-4777-913A-8768E6C56E9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9274287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064891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uman Agenda Slide - BH-H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3113690"/>
            <a:ext cx="2080171" cy="3744310"/>
          </a:xfrm>
          <a:prstGeom prst="rect">
            <a:avLst/>
          </a:prstGeom>
        </p:spPr>
      </p:pic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A97DDC82-36D5-4738-989D-30338EA824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2800" y="1371600"/>
            <a:ext cx="8153400" cy="4800600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+mj-lt"/>
              <a:buAutoNum type="arabicPeriod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12832EA-CDD3-468B-986D-C2A74387AB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301752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4DD751-D7CE-4A02-94D3-1F2D41366F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1084B5D6-E13F-49DD-9723-965CD01789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81000"/>
            <a:ext cx="11582400" cy="81128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>
                <a:solidFill>
                  <a:schemeClr val="bg1"/>
                </a:solidFill>
              </a:defRPr>
            </a:lvl1pPr>
          </a:lstStyle>
          <a:p>
            <a:r>
              <a:rPr lang="en-US"/>
              <a:t>[Title]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FC4CCBF6-B1C3-46CC-A9D2-020E4383864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18131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92">
          <p15:clr>
            <a:srgbClr val="FBAE40"/>
          </p15:clr>
        </p15:guide>
        <p15:guide id="3" pos="7488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609441" y="1066800"/>
            <a:ext cx="10969943" cy="51054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09955" indent="-300355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05" indent="-230505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70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173736" y="0"/>
            <a:ext cx="10515600" cy="722376"/>
          </a:xfrm>
          <a:prstGeom prst="rect">
            <a:avLst/>
          </a:prstGeom>
        </p:spPr>
        <p:txBody>
          <a:bodyPr tIns="109728" anchor="ctr"/>
          <a:lstStyle>
            <a:lvl1pPr marL="226695" marR="0" indent="-226695" algn="l" defTabSz="60896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defRPr kumimoji="1" lang="en-US" sz="2400" kern="1200" spc="0" baseline="0">
                <a:solidFill>
                  <a:schemeClr val="tx1"/>
                </a:solidFill>
                <a:latin typeface="+mn-lt"/>
                <a:ea typeface="+mj-ea"/>
                <a:cs typeface="Arial" panose="020B0604020202020204"/>
              </a:defRPr>
            </a:lvl1pPr>
          </a:lstStyle>
          <a:p>
            <a:pPr marL="226695" marR="0" lvl="0" indent="-226695" algn="l" defTabSz="60896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defRPr/>
            </a:pPr>
            <a:r>
              <a:rPr kumimoji="1" lang="en-US" altLang="ja-JP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215822007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Bar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0"/>
          <p:cNvSpPr/>
          <p:nvPr userDrawn="1"/>
        </p:nvSpPr>
        <p:spPr>
          <a:xfrm>
            <a:off x="0" y="0"/>
            <a:ext cx="12192000" cy="79363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4024" tIns="42012" rIns="84024" bIns="42012" rtlCol="0" anchor="ctr">
            <a:normAutofit/>
          </a:bodyPr>
          <a:lstStyle/>
          <a:p>
            <a:pPr algn="ctr"/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441" y="1066800"/>
            <a:ext cx="10969943" cy="51054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173736" y="0"/>
            <a:ext cx="10515600" cy="722376"/>
          </a:xfrm>
          <a:prstGeom prst="rect">
            <a:avLst/>
          </a:prstGeom>
        </p:spPr>
        <p:txBody>
          <a:bodyPr tIns="109728" anchor="ctr"/>
          <a:lstStyle>
            <a:lvl1pPr marL="226468" marR="0" indent="-226468" algn="l" defTabSz="6095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 kumimoji="1" lang="en-US" sz="2400" kern="1200" spc="0" baseline="0">
                <a:solidFill>
                  <a:schemeClr val="bg1"/>
                </a:solidFill>
                <a:latin typeface="+mn-lt"/>
                <a:ea typeface="+mj-ea"/>
                <a:cs typeface="Arial"/>
              </a:defRPr>
            </a:lvl1pPr>
          </a:lstStyle>
          <a:p>
            <a:pPr marL="226468" marR="0" lvl="0" indent="-226468" algn="l" defTabSz="6095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en-US" altLang="ja-JP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189504817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3">
            <a:extLst>
              <a:ext uri="{FF2B5EF4-FFF2-40B4-BE49-F238E27FC236}">
                <a16:creationId xmlns:a16="http://schemas.microsoft.com/office/drawing/2014/main" id="{C2FECC32-09FA-4F0A-99B9-53FF86115D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474980"/>
            <a:ext cx="11582400" cy="55220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defRPr lang="en-US" dirty="0">
                <a:solidFill>
                  <a:schemeClr val="accent2"/>
                </a:solidFill>
              </a:defRPr>
            </a:lvl1pPr>
          </a:lstStyle>
          <a:p>
            <a:r>
              <a:rPr lang="en-US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2967289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  <p15:guide id="5" orient="horz" pos="288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173736" y="0"/>
            <a:ext cx="10515600" cy="722376"/>
          </a:xfrm>
          <a:prstGeom prst="rect">
            <a:avLst/>
          </a:prstGeom>
        </p:spPr>
        <p:txBody>
          <a:bodyPr tIns="109728" anchor="ctr"/>
          <a:lstStyle>
            <a:lvl1pPr marL="226468" marR="0" indent="-226468" algn="l" defTabSz="6095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 kumimoji="1" lang="en-US" sz="2400" kern="1200" spc="0" baseline="0">
                <a:solidFill>
                  <a:schemeClr val="tx1"/>
                </a:solidFill>
                <a:latin typeface="+mn-lt"/>
                <a:ea typeface="+mj-ea"/>
                <a:cs typeface="Arial"/>
              </a:defRPr>
            </a:lvl1pPr>
          </a:lstStyle>
          <a:p>
            <a:pPr marL="226468" marR="0" lvl="0" indent="-226468" algn="l" defTabSz="6095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en-US" altLang="ja-JP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312566924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69224401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Image Slide - BF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5">
            <a:extLst>
              <a:ext uri="{FF2B5EF4-FFF2-40B4-BE49-F238E27FC236}">
                <a16:creationId xmlns:a16="http://schemas.microsoft.com/office/drawing/2014/main" id="{580AF351-5E3F-4D4F-B815-A3641CC4C1B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920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4E9DA52-4E40-491D-BA4C-899F8CADB9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AB899D-0E58-43A5-A90C-0F2D79E5B9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837042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536876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9D97DA3-0625-E847-84EB-7501FD70F3F0}"/>
              </a:ext>
            </a:extLst>
          </p:cNvPr>
          <p:cNvSpPr/>
          <p:nvPr userDrawn="1"/>
        </p:nvSpPr>
        <p:spPr>
          <a:xfrm>
            <a:off x="0" y="6295292"/>
            <a:ext cx="12192000" cy="5627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759492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 - Human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5">
            <a:extLst>
              <a:ext uri="{FF2B5EF4-FFF2-40B4-BE49-F238E27FC236}">
                <a16:creationId xmlns:a16="http://schemas.microsoft.com/office/drawing/2014/main" id="{998ED156-1AB5-4B96-BB64-69BB7DD751EA}"/>
              </a:ext>
            </a:extLst>
          </p:cNvPr>
          <p:cNvSpPr>
            <a:spLocks/>
          </p:cNvSpPr>
          <p:nvPr/>
        </p:nvSpPr>
        <p:spPr bwMode="auto">
          <a:xfrm>
            <a:off x="3175" y="0"/>
            <a:ext cx="5224380" cy="6858000"/>
          </a:xfrm>
          <a:custGeom>
            <a:avLst/>
            <a:gdLst>
              <a:gd name="T0" fmla="*/ 1111 w 1691"/>
              <a:gd name="T1" fmla="*/ 1108 h 2215"/>
              <a:gd name="T2" fmla="*/ 1108 w 1691"/>
              <a:gd name="T3" fmla="*/ 1108 h 2215"/>
              <a:gd name="T4" fmla="*/ 1108 w 1691"/>
              <a:gd name="T5" fmla="*/ 1102 h 2215"/>
              <a:gd name="T6" fmla="*/ 815 w 1691"/>
              <a:gd name="T7" fmla="*/ 569 h 2215"/>
              <a:gd name="T8" fmla="*/ 0 w 1691"/>
              <a:gd name="T9" fmla="*/ 0 h 2215"/>
              <a:gd name="T10" fmla="*/ 0 w 1691"/>
              <a:gd name="T11" fmla="*/ 1108 h 2215"/>
              <a:gd name="T12" fmla="*/ 0 w 1691"/>
              <a:gd name="T13" fmla="*/ 1213 h 2215"/>
              <a:gd name="T14" fmla="*/ 34 w 1691"/>
              <a:gd name="T15" fmla="*/ 1257 h 2215"/>
              <a:gd name="T16" fmla="*/ 522 w 1691"/>
              <a:gd name="T17" fmla="*/ 2215 h 2215"/>
              <a:gd name="T18" fmla="*/ 1108 w 1691"/>
              <a:gd name="T19" fmla="*/ 2215 h 2215"/>
              <a:gd name="T20" fmla="*/ 1691 w 1691"/>
              <a:gd name="T21" fmla="*/ 2215 h 2215"/>
              <a:gd name="T22" fmla="*/ 1111 w 1691"/>
              <a:gd name="T23" fmla="*/ 1108 h 22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691" h="2215">
                <a:moveTo>
                  <a:pt x="1111" y="1108"/>
                </a:moveTo>
                <a:cubicBezTo>
                  <a:pt x="1108" y="1108"/>
                  <a:pt x="1108" y="1108"/>
                  <a:pt x="1108" y="1108"/>
                </a:cubicBezTo>
                <a:cubicBezTo>
                  <a:pt x="1108" y="1102"/>
                  <a:pt x="1108" y="1102"/>
                  <a:pt x="1108" y="1102"/>
                </a:cubicBezTo>
                <a:cubicBezTo>
                  <a:pt x="965" y="833"/>
                  <a:pt x="857" y="635"/>
                  <a:pt x="815" y="569"/>
                </a:cubicBezTo>
                <a:cubicBezTo>
                  <a:pt x="624" y="269"/>
                  <a:pt x="397" y="50"/>
                  <a:pt x="0" y="0"/>
                </a:cubicBezTo>
                <a:cubicBezTo>
                  <a:pt x="0" y="1108"/>
                  <a:pt x="0" y="1108"/>
                  <a:pt x="0" y="1108"/>
                </a:cubicBezTo>
                <a:cubicBezTo>
                  <a:pt x="0" y="1213"/>
                  <a:pt x="0" y="1213"/>
                  <a:pt x="0" y="1213"/>
                </a:cubicBezTo>
                <a:cubicBezTo>
                  <a:pt x="13" y="1224"/>
                  <a:pt x="24" y="1239"/>
                  <a:pt x="34" y="1257"/>
                </a:cubicBezTo>
                <a:cubicBezTo>
                  <a:pt x="42" y="1273"/>
                  <a:pt x="250" y="1684"/>
                  <a:pt x="522" y="2215"/>
                </a:cubicBezTo>
                <a:cubicBezTo>
                  <a:pt x="1108" y="2215"/>
                  <a:pt x="1108" y="2215"/>
                  <a:pt x="1108" y="2215"/>
                </a:cubicBezTo>
                <a:cubicBezTo>
                  <a:pt x="1691" y="2215"/>
                  <a:pt x="1691" y="2215"/>
                  <a:pt x="1691" y="2215"/>
                </a:cubicBezTo>
                <a:cubicBezTo>
                  <a:pt x="1483" y="1814"/>
                  <a:pt x="1274" y="1415"/>
                  <a:pt x="1111" y="1108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1D060813-35FD-49A2-8E36-AEA23C17F6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600" y="6556248"/>
            <a:ext cx="2194560" cy="182880"/>
          </a:xfrm>
          <a:prstGeom prst="rect">
            <a:avLst/>
          </a:prstGeom>
        </p:spPr>
        <p:txBody>
          <a:bodyPr anchor="ctr"/>
          <a:lstStyle>
            <a:defPPr>
              <a:defRPr lang="ja-JP"/>
            </a:defPPr>
            <a:lvl1pPr marL="0" algn="l" defTabSz="914400" rtl="0" eaLnBrk="1" latinLnBrk="0" hangingPunct="1">
              <a:defRPr kumimoji="1"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D6DFEA91-6D5D-4821-BB70-31F926CD2D1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F20018E5-3262-4051-AFC3-3172D793DBC8}"/>
              </a:ext>
            </a:extLst>
          </p:cNvPr>
          <p:cNvSpPr>
            <a:spLocks noEditPoints="1"/>
          </p:cNvSpPr>
          <p:nvPr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120C823-64A7-454A-B2E8-E046769689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2800" y="2027436"/>
            <a:ext cx="8153400" cy="3810000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+mj-lt"/>
              <a:buAutoNum type="arabicPeriod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4" name="タイトル 1">
            <a:extLst>
              <a:ext uri="{FF2B5EF4-FFF2-40B4-BE49-F238E27FC236}">
                <a16:creationId xmlns:a16="http://schemas.microsoft.com/office/drawing/2014/main" id="{0198557A-61B0-2741-A692-E8576152AF1A}"/>
              </a:ext>
            </a:extLst>
          </p:cNvPr>
          <p:cNvSpPr txBox="1">
            <a:spLocks/>
          </p:cNvSpPr>
          <p:nvPr/>
        </p:nvSpPr>
        <p:spPr>
          <a:xfrm>
            <a:off x="3352800" y="1483150"/>
            <a:ext cx="8153400" cy="533400"/>
          </a:xfrm>
          <a:prstGeom prst="rect">
            <a:avLst/>
          </a:prstGeom>
        </p:spPr>
        <p:txBody>
          <a:bodyPr lIns="91440" tIns="0" bIns="0" anchor="t" anchorCtr="0">
            <a:noAutofit/>
          </a:bodyPr>
          <a:lstStyle>
            <a:lvl1pPr marL="225425" indent="115888" algn="l" defTabSz="609555" rtl="0" eaLnBrk="1" fontAlgn="base" hangingPunct="1">
              <a:spcBef>
                <a:spcPct val="0"/>
              </a:spcBef>
              <a:spcAft>
                <a:spcPct val="0"/>
              </a:spcAft>
              <a:tabLst/>
              <a:defRPr kumimoji="1" lang="en-US" altLang="ja-JP" sz="2400" b="0" i="0" kern="1200" spc="0" baseline="0" dirty="0" smtClean="0">
                <a:solidFill>
                  <a:schemeClr val="tx1"/>
                </a:solidFill>
                <a:latin typeface="+mj-ea"/>
                <a:ea typeface="+mj-ea"/>
                <a:cs typeface="Arial"/>
              </a:defRPr>
            </a:lvl1pPr>
            <a:lvl2pPr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2pPr>
            <a:lvl3pPr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3pPr>
            <a:lvl4pPr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4pPr>
            <a:lvl5pPr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5pPr>
            <a:lvl6pPr marL="609555"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6pPr>
            <a:lvl7pPr marL="1219110"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7pPr>
            <a:lvl8pPr marL="1828664"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8pPr>
            <a:lvl9pPr marL="2438218"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9pPr>
          </a:lstStyle>
          <a:p>
            <a:pPr marL="226468" indent="-226468">
              <a:spcBef>
                <a:spcPct val="20000"/>
              </a:spcBef>
              <a:buFont typeface="+mj-lt"/>
              <a:buNone/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EB93207-93FA-154C-9D08-40D62DEF64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800" y="1391928"/>
            <a:ext cx="8534400" cy="55220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>
                <a:solidFill>
                  <a:schemeClr val="bg1"/>
                </a:solidFill>
              </a:defRPr>
            </a:lvl1pPr>
          </a:lstStyle>
          <a:p>
            <a:r>
              <a:rPr lang="en-US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23806336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92">
          <p15:clr>
            <a:srgbClr val="FBAE40"/>
          </p15:clr>
        </p15:guide>
        <p15:guide id="3" pos="7488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09FEE01-6D38-4AFF-8E39-8403A0C9ED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447800"/>
            <a:ext cx="11582400" cy="477012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0BA91AD-94D7-45DB-9DC0-AA0B54CD69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875DB9-62CF-4691-983F-E0B1CA6CEBD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C2FECC32-09FA-4F0A-99B9-53FF86115D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2007306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  <p15:guide id="5" orient="horz" pos="28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09FEE01-6D38-4AFF-8E39-8403A0C9ED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447800"/>
            <a:ext cx="11582400" cy="477012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0BA91AD-94D7-45DB-9DC0-AA0B54CD69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875DB9-62CF-4691-983F-E0B1CA6CEBD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C2FECC32-09FA-4F0A-99B9-53FF86115D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16279729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  <p15:guide id="5" orient="horz" pos="288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9D32AD7-4EC4-4336-8E66-DAF3CD63E129}"/>
              </a:ext>
            </a:extLst>
          </p:cNvPr>
          <p:cNvCxnSpPr>
            <a:cxnSpLocks/>
          </p:cNvCxnSpPr>
          <p:nvPr/>
        </p:nvCxnSpPr>
        <p:spPr>
          <a:xfrm>
            <a:off x="6094413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A3F0FF2-9D07-4173-8901-D515EA8C80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1447800"/>
            <a:ext cx="5410200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5085B24-6983-47FE-AA4D-FD610A3D3BE7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321426" y="1447800"/>
            <a:ext cx="5413362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5135ECDE-9650-420F-B887-80D8299F5C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C28CFF88-D122-4C72-90AF-98AEC7B19CF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A4634491-90BC-4AE1-BB5A-332230E4AA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63634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3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A4AC4E7-4E1D-4EEA-B383-BA8B1F15F7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199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53D318D-5BC0-4FD7-84F6-570AAD7A014D}"/>
              </a:ext>
            </a:extLst>
          </p:cNvPr>
          <p:cNvCxnSpPr>
            <a:cxnSpLocks/>
          </p:cNvCxnSpPr>
          <p:nvPr/>
        </p:nvCxnSpPr>
        <p:spPr>
          <a:xfrm>
            <a:off x="4184986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9893623-AAB5-4C02-BC15-F45AA3A235AA}"/>
              </a:ext>
            </a:extLst>
          </p:cNvPr>
          <p:cNvCxnSpPr>
            <a:cxnSpLocks/>
          </p:cNvCxnSpPr>
          <p:nvPr/>
        </p:nvCxnSpPr>
        <p:spPr>
          <a:xfrm>
            <a:off x="8007007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3">
            <a:extLst>
              <a:ext uri="{FF2B5EF4-FFF2-40B4-BE49-F238E27FC236}">
                <a16:creationId xmlns:a16="http://schemas.microsoft.com/office/drawing/2014/main" id="{767CBE20-A9B1-4A35-83D8-A73BEBC38B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3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53B5A437-9046-4D9A-B9A8-6545E19F54E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B101C1CC-2FB9-44F0-AA12-C9ED7656440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5D0EF105-BA09-4670-B8E9-4C9C082BED0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279220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8C807397-FCCB-47FB-AD0D-F4EF80200F39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8101242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0900968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7488">
          <p15:clr>
            <a:srgbClr val="FBAE40"/>
          </p15:clr>
        </p15:guide>
        <p15:guide id="4" pos="192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3 Horiz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D1B004D-3DA5-4FB1-86C3-AEE8370F2FDB}"/>
              </a:ext>
            </a:extLst>
          </p:cNvPr>
          <p:cNvCxnSpPr>
            <a:cxnSpLocks/>
          </p:cNvCxnSpPr>
          <p:nvPr/>
        </p:nvCxnSpPr>
        <p:spPr>
          <a:xfrm>
            <a:off x="446181" y="2955131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2C906EE-1306-469E-9B3A-03111095D817}"/>
              </a:ext>
            </a:extLst>
          </p:cNvPr>
          <p:cNvCxnSpPr>
            <a:cxnSpLocks/>
          </p:cNvCxnSpPr>
          <p:nvPr/>
        </p:nvCxnSpPr>
        <p:spPr>
          <a:xfrm>
            <a:off x="446181" y="4591845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B054C7E-EC6C-4C07-AE9B-BE8CF582738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447800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marL="225425" indent="-22542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E00503B-625A-40D6-A09F-268AABD4BA0D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69743" y="3084514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2085E28-D41A-4AB4-A103-F6E2760E09CD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57200" y="4721227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DD620418-EEB2-4760-B008-A8F072EDD2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39B2C728-A5A1-4484-A619-4E9E480843E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EB014FE1-F0E6-4EE1-923A-906D66CBAB5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22019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  <p15:guide id="4" orient="horz" pos="912">
          <p15:clr>
            <a:srgbClr val="FBAE40"/>
          </p15:clr>
        </p15:guide>
        <p15:guide id="5" orient="horz" pos="3840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/Sub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3BFEB-E3E2-40B7-A253-8DF9A4ADA8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1347732"/>
            <a:ext cx="11582400" cy="404868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spcBef>
                <a:spcPts val="0"/>
              </a:spcBef>
              <a:buNone/>
              <a:defRPr sz="2000"/>
            </a:lvl1pPr>
          </a:lstStyle>
          <a:p>
            <a:pPr lvl="0"/>
            <a:r>
              <a:rPr lang="en-US"/>
              <a:t>[Subtitle]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0162BD97-CE5D-4353-8684-0E76CAC1F5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828800"/>
            <a:ext cx="11582400" cy="4572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76293CAC-E1C7-430F-9B47-1D1372474C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9DBFC91C-8CCE-4BFA-A2DB-040D53241C3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92BDF944-3173-46A4-AE85-8B2DF233C2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97024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ny Profil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133D873-0981-44B3-9F23-FE6A66F25CCB}"/>
              </a:ext>
            </a:extLst>
          </p:cNvPr>
          <p:cNvSpPr/>
          <p:nvPr/>
        </p:nvSpPr>
        <p:spPr bwMode="gray">
          <a:xfrm>
            <a:off x="4060824" y="1981200"/>
            <a:ext cx="4067176" cy="355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>
              <a:latin typeface="+mn-lt"/>
            </a:endParaRPr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7F5A84BC-8CC7-416E-9A02-8994A246FEE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24F236D9-79B7-45F4-A450-3A5A22D976B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800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62C69F86-EB6F-4E6A-A481-EF2943D418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4265612" y="3419022"/>
            <a:ext cx="3657600" cy="75202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72265DCB-702C-4B39-866D-759DBA9B8E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white">
          <a:xfrm>
            <a:off x="4265612" y="4267200"/>
            <a:ext cx="3657600" cy="7266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7229CF78-FD03-4D68-8B06-A070ACC258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F3E5A779-8138-44AD-8594-A3305B7734C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C64B3573-DB9B-417D-84AB-8F4B046431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1782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982ECDED-16BD-46CC-9E54-CE94F63779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E5BC33B8-03C1-47C6-B7A6-54A66971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64839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Full Imag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457200"/>
            <a:ext cx="121920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9EF93357-ACE0-401E-B673-E62DD3B4B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07860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 Band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5">
            <a:extLst>
              <a:ext uri="{FF2B5EF4-FFF2-40B4-BE49-F238E27FC236}">
                <a16:creationId xmlns:a16="http://schemas.microsoft.com/office/drawing/2014/main" id="{28220791-D495-4D87-90C8-E922F6083CC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752600"/>
            <a:ext cx="12192000" cy="33782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982ECDED-16BD-46CC-9E54-CE94F63779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E5BC33B8-03C1-47C6-B7A6-54A66971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37174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ccess Story (Unnam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57200"/>
            <a:ext cx="41148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en-US" dirty="0"/>
              <a:t>7 x ‘ 4.5 @ 96dpi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graphicFrame>
        <p:nvGraphicFramePr>
          <p:cNvPr id="8" name="Body Copy">
            <a:extLst>
              <a:ext uri="{FF2B5EF4-FFF2-40B4-BE49-F238E27FC236}">
                <a16:creationId xmlns:a16="http://schemas.microsoft.com/office/drawing/2014/main" id="{97B60F81-633F-4646-AA98-205101671A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6447254"/>
              </p:ext>
            </p:extLst>
          </p:nvPr>
        </p:nvGraphicFramePr>
        <p:xfrm>
          <a:off x="4419600" y="1855716"/>
          <a:ext cx="7467600" cy="4167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0780">
                  <a:extLst>
                    <a:ext uri="{9D8B030D-6E8A-4147-A177-3AD203B41FA5}">
                      <a16:colId xmlns:a16="http://schemas.microsoft.com/office/drawing/2014/main" val="946091691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1729550602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614543895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4208229438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081490778"/>
                    </a:ext>
                  </a:extLst>
                </a:gridCol>
              </a:tblGrid>
              <a:tr h="416716"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usiness need</a:t>
                      </a:r>
                      <a:r>
                        <a:rPr kumimoji="1" lang="en-US" sz="20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olution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utcomes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4790786"/>
                  </a:ext>
                </a:extLst>
              </a:tr>
            </a:tbl>
          </a:graphicData>
        </a:graphic>
      </p:graphicFrame>
      <p:sp>
        <p:nvSpPr>
          <p:cNvPr id="9" name="Title 3">
            <a:extLst>
              <a:ext uri="{FF2B5EF4-FFF2-40B4-BE49-F238E27FC236}">
                <a16:creationId xmlns:a16="http://schemas.microsoft.com/office/drawing/2014/main" id="{4403474F-4C11-4C2F-9EC3-2AA63BBDF2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19600" y="640080"/>
            <a:ext cx="7467600" cy="55220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defRPr lang="en-US" b="1" dirty="0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r>
              <a:rPr lang="en-US"/>
              <a:t>Generic Description of Client (Title Case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2E2D38-5330-481A-8A2D-27515EAB60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19600" y="1295400"/>
            <a:ext cx="7467600" cy="4572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60955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1219109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828662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243821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Subhead (Sentence case, no punctuation)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C834197-400F-446C-8C06-80562BDF75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19599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sz="1050"/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lang="en-GB" sz="1050"/>
              <a:t>Example: The client needed to boost operational efficiency, flexibility and agility so it could continuously respond to customer demand.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09CAB2B-0D59-4F3A-8262-32034F757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81825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The client partners with </a:t>
            </a:r>
            <a:b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</a:b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NTT DATA to manage IT infrastructure services — covering data </a:t>
            </a:r>
            <a:r>
              <a:rPr kumimoji="1" lang="en-US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center</a:t>
            </a: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 and help desk operations, security, servers, networking and messaging — so staff can focus on the core business.</a:t>
            </a:r>
            <a:endParaRPr lang="en-US" sz="1050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4C75FEB-4BF0-4940-9459-71F22DCD8AD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528048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227013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pPr marL="227013" lvl="0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444444"/>
                </a:solidFill>
                <a:ea typeface="Museo Sans For Dell" pitchFamily="2" charset="0"/>
              </a:rPr>
              <a:t>Bullets</a:t>
            </a:r>
            <a:endParaRPr kumimoji="1" lang="en-US" sz="1050">
              <a:solidFill>
                <a:srgbClr val="444444"/>
              </a:solidFill>
              <a:ea typeface="Museo Sans For Dell" pitchFamily="2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10DB331-BCC2-4933-82DD-8532EA7B4DB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19600" y="4876800"/>
            <a:ext cx="7467600" cy="1060839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-- Remove Before Presenting -- For the Development of “Success Stories” Only (unnamed or anonymous case studies)</a:t>
            </a:r>
          </a:p>
        </p:txBody>
      </p:sp>
    </p:spTree>
    <p:extLst>
      <p:ext uri="{BB962C8B-B14F-4D97-AF65-F5344CB8AC3E}">
        <p14:creationId xmlns:p14="http://schemas.microsoft.com/office/powerpoint/2010/main" val="41900396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 - Human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5">
            <a:extLst>
              <a:ext uri="{FF2B5EF4-FFF2-40B4-BE49-F238E27FC236}">
                <a16:creationId xmlns:a16="http://schemas.microsoft.com/office/drawing/2014/main" id="{998ED156-1AB5-4B96-BB64-69BB7DD751EA}"/>
              </a:ext>
            </a:extLst>
          </p:cNvPr>
          <p:cNvSpPr>
            <a:spLocks/>
          </p:cNvSpPr>
          <p:nvPr/>
        </p:nvSpPr>
        <p:spPr bwMode="auto">
          <a:xfrm>
            <a:off x="3175" y="0"/>
            <a:ext cx="5224380" cy="6858000"/>
          </a:xfrm>
          <a:custGeom>
            <a:avLst/>
            <a:gdLst>
              <a:gd name="T0" fmla="*/ 1111 w 1691"/>
              <a:gd name="T1" fmla="*/ 1108 h 2215"/>
              <a:gd name="T2" fmla="*/ 1108 w 1691"/>
              <a:gd name="T3" fmla="*/ 1108 h 2215"/>
              <a:gd name="T4" fmla="*/ 1108 w 1691"/>
              <a:gd name="T5" fmla="*/ 1102 h 2215"/>
              <a:gd name="T6" fmla="*/ 815 w 1691"/>
              <a:gd name="T7" fmla="*/ 569 h 2215"/>
              <a:gd name="T8" fmla="*/ 0 w 1691"/>
              <a:gd name="T9" fmla="*/ 0 h 2215"/>
              <a:gd name="T10" fmla="*/ 0 w 1691"/>
              <a:gd name="T11" fmla="*/ 1108 h 2215"/>
              <a:gd name="T12" fmla="*/ 0 w 1691"/>
              <a:gd name="T13" fmla="*/ 1213 h 2215"/>
              <a:gd name="T14" fmla="*/ 34 w 1691"/>
              <a:gd name="T15" fmla="*/ 1257 h 2215"/>
              <a:gd name="T16" fmla="*/ 522 w 1691"/>
              <a:gd name="T17" fmla="*/ 2215 h 2215"/>
              <a:gd name="T18" fmla="*/ 1108 w 1691"/>
              <a:gd name="T19" fmla="*/ 2215 h 2215"/>
              <a:gd name="T20" fmla="*/ 1691 w 1691"/>
              <a:gd name="T21" fmla="*/ 2215 h 2215"/>
              <a:gd name="T22" fmla="*/ 1111 w 1691"/>
              <a:gd name="T23" fmla="*/ 1108 h 22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691" h="2215">
                <a:moveTo>
                  <a:pt x="1111" y="1108"/>
                </a:moveTo>
                <a:cubicBezTo>
                  <a:pt x="1108" y="1108"/>
                  <a:pt x="1108" y="1108"/>
                  <a:pt x="1108" y="1108"/>
                </a:cubicBezTo>
                <a:cubicBezTo>
                  <a:pt x="1108" y="1102"/>
                  <a:pt x="1108" y="1102"/>
                  <a:pt x="1108" y="1102"/>
                </a:cubicBezTo>
                <a:cubicBezTo>
                  <a:pt x="965" y="833"/>
                  <a:pt x="857" y="635"/>
                  <a:pt x="815" y="569"/>
                </a:cubicBezTo>
                <a:cubicBezTo>
                  <a:pt x="624" y="269"/>
                  <a:pt x="397" y="50"/>
                  <a:pt x="0" y="0"/>
                </a:cubicBezTo>
                <a:cubicBezTo>
                  <a:pt x="0" y="1108"/>
                  <a:pt x="0" y="1108"/>
                  <a:pt x="0" y="1108"/>
                </a:cubicBezTo>
                <a:cubicBezTo>
                  <a:pt x="0" y="1213"/>
                  <a:pt x="0" y="1213"/>
                  <a:pt x="0" y="1213"/>
                </a:cubicBezTo>
                <a:cubicBezTo>
                  <a:pt x="13" y="1224"/>
                  <a:pt x="24" y="1239"/>
                  <a:pt x="34" y="1257"/>
                </a:cubicBezTo>
                <a:cubicBezTo>
                  <a:pt x="42" y="1273"/>
                  <a:pt x="250" y="1684"/>
                  <a:pt x="522" y="2215"/>
                </a:cubicBezTo>
                <a:cubicBezTo>
                  <a:pt x="1108" y="2215"/>
                  <a:pt x="1108" y="2215"/>
                  <a:pt x="1108" y="2215"/>
                </a:cubicBezTo>
                <a:cubicBezTo>
                  <a:pt x="1691" y="2215"/>
                  <a:pt x="1691" y="2215"/>
                  <a:pt x="1691" y="2215"/>
                </a:cubicBezTo>
                <a:cubicBezTo>
                  <a:pt x="1483" y="1814"/>
                  <a:pt x="1274" y="1415"/>
                  <a:pt x="1111" y="1108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1D060813-35FD-49A2-8E36-AEA23C17F6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600" y="6556248"/>
            <a:ext cx="2194560" cy="182880"/>
          </a:xfrm>
          <a:prstGeom prst="rect">
            <a:avLst/>
          </a:prstGeom>
        </p:spPr>
        <p:txBody>
          <a:bodyPr anchor="ctr"/>
          <a:lstStyle>
            <a:defPPr>
              <a:defRPr lang="ja-JP"/>
            </a:defPPr>
            <a:lvl1pPr marL="0" algn="l" defTabSz="914400" rtl="0" eaLnBrk="1" latinLnBrk="0" hangingPunct="1">
              <a:defRPr kumimoji="1"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D6DFEA91-6D5D-4821-BB70-31F926CD2D1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F20018E5-3262-4051-AFC3-3172D793DBC8}"/>
              </a:ext>
            </a:extLst>
          </p:cNvPr>
          <p:cNvSpPr>
            <a:spLocks noEditPoints="1"/>
          </p:cNvSpPr>
          <p:nvPr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120C823-64A7-454A-B2E8-E046769689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2800" y="2027436"/>
            <a:ext cx="8153400" cy="3810000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+mj-lt"/>
              <a:buAutoNum type="arabicPeriod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4" name="タイトル 1">
            <a:extLst>
              <a:ext uri="{FF2B5EF4-FFF2-40B4-BE49-F238E27FC236}">
                <a16:creationId xmlns:a16="http://schemas.microsoft.com/office/drawing/2014/main" id="{0198557A-61B0-2741-A692-E8576152AF1A}"/>
              </a:ext>
            </a:extLst>
          </p:cNvPr>
          <p:cNvSpPr txBox="1">
            <a:spLocks/>
          </p:cNvSpPr>
          <p:nvPr/>
        </p:nvSpPr>
        <p:spPr>
          <a:xfrm>
            <a:off x="3352800" y="1483150"/>
            <a:ext cx="8153400" cy="533400"/>
          </a:xfrm>
          <a:prstGeom prst="rect">
            <a:avLst/>
          </a:prstGeom>
        </p:spPr>
        <p:txBody>
          <a:bodyPr lIns="91440" tIns="0" bIns="0" anchor="t" anchorCtr="0">
            <a:noAutofit/>
          </a:bodyPr>
          <a:lstStyle>
            <a:lvl1pPr marL="225425" indent="115888" algn="l" defTabSz="609555" rtl="0" eaLnBrk="1" fontAlgn="base" hangingPunct="1">
              <a:spcBef>
                <a:spcPct val="0"/>
              </a:spcBef>
              <a:spcAft>
                <a:spcPct val="0"/>
              </a:spcAft>
              <a:tabLst/>
              <a:defRPr kumimoji="1" lang="en-US" altLang="ja-JP" sz="2400" b="0" i="0" kern="1200" spc="0" baseline="0" dirty="0" smtClean="0">
                <a:solidFill>
                  <a:schemeClr val="tx1"/>
                </a:solidFill>
                <a:latin typeface="+mj-ea"/>
                <a:ea typeface="+mj-ea"/>
                <a:cs typeface="Arial"/>
              </a:defRPr>
            </a:lvl1pPr>
            <a:lvl2pPr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2pPr>
            <a:lvl3pPr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3pPr>
            <a:lvl4pPr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4pPr>
            <a:lvl5pPr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5pPr>
            <a:lvl6pPr marL="609555"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6pPr>
            <a:lvl7pPr marL="1219110"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7pPr>
            <a:lvl8pPr marL="1828664"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8pPr>
            <a:lvl9pPr marL="2438218"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9pPr>
          </a:lstStyle>
          <a:p>
            <a:pPr marL="226468" indent="-226468">
              <a:spcBef>
                <a:spcPct val="20000"/>
              </a:spcBef>
              <a:buFont typeface="+mj-lt"/>
              <a:buNone/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EB93207-93FA-154C-9D08-40D62DEF64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800" y="1391928"/>
            <a:ext cx="8534400" cy="55220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>
                <a:solidFill>
                  <a:schemeClr val="bg1"/>
                </a:solidFill>
              </a:defRPr>
            </a:lvl1pPr>
          </a:lstStyle>
          <a:p>
            <a:r>
              <a:rPr lang="en-US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3495043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92">
          <p15:clr>
            <a:srgbClr val="FBAE40"/>
          </p15:clr>
        </p15:guide>
        <p15:guide id="3" pos="7488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9D32AD7-4EC4-4336-8E66-DAF3CD63E129}"/>
              </a:ext>
            </a:extLst>
          </p:cNvPr>
          <p:cNvCxnSpPr>
            <a:cxnSpLocks/>
          </p:cNvCxnSpPr>
          <p:nvPr userDrawn="1"/>
        </p:nvCxnSpPr>
        <p:spPr>
          <a:xfrm flipH="1">
            <a:off x="454430" y="3438005"/>
            <a:ext cx="11277587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A3F0FF2-9D07-4173-8901-D515EA8C80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1447800"/>
            <a:ext cx="5410200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5085B24-6983-47FE-AA4D-FD610A3D3BE7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321426" y="1447800"/>
            <a:ext cx="5413362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5135ECDE-9650-420F-B887-80D8299F5C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C28CFF88-D122-4C72-90AF-98AEC7B19CF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A4634491-90BC-4AE1-BB5A-332230E4AA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8994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09FEE01-6D38-4AFF-8E39-8403A0C9ED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447800"/>
            <a:ext cx="11582400" cy="477012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0BA91AD-94D7-45DB-9DC0-AA0B54CD69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875DB9-62CF-4691-983F-E0B1CA6CEBD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C2FECC32-09FA-4F0A-99B9-53FF86115D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33997080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  <p15:guide id="5" orient="horz" pos="288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9D32AD7-4EC4-4336-8E66-DAF3CD63E129}"/>
              </a:ext>
            </a:extLst>
          </p:cNvPr>
          <p:cNvCxnSpPr>
            <a:cxnSpLocks/>
          </p:cNvCxnSpPr>
          <p:nvPr/>
        </p:nvCxnSpPr>
        <p:spPr>
          <a:xfrm>
            <a:off x="6094413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A3F0FF2-9D07-4173-8901-D515EA8C80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1447800"/>
            <a:ext cx="5410200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5085B24-6983-47FE-AA4D-FD610A3D3BE7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321426" y="1447800"/>
            <a:ext cx="5413362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5135ECDE-9650-420F-B887-80D8299F5C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C28CFF88-D122-4C72-90AF-98AEC7B19CF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A4634491-90BC-4AE1-BB5A-332230E4AA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2401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3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A4AC4E7-4E1D-4EEA-B383-BA8B1F15F7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199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53D318D-5BC0-4FD7-84F6-570AAD7A014D}"/>
              </a:ext>
            </a:extLst>
          </p:cNvPr>
          <p:cNvCxnSpPr>
            <a:cxnSpLocks/>
          </p:cNvCxnSpPr>
          <p:nvPr/>
        </p:nvCxnSpPr>
        <p:spPr>
          <a:xfrm>
            <a:off x="4184986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9893623-AAB5-4C02-BC15-F45AA3A235AA}"/>
              </a:ext>
            </a:extLst>
          </p:cNvPr>
          <p:cNvCxnSpPr>
            <a:cxnSpLocks/>
          </p:cNvCxnSpPr>
          <p:nvPr/>
        </p:nvCxnSpPr>
        <p:spPr>
          <a:xfrm>
            <a:off x="8007007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3">
            <a:extLst>
              <a:ext uri="{FF2B5EF4-FFF2-40B4-BE49-F238E27FC236}">
                <a16:creationId xmlns:a16="http://schemas.microsoft.com/office/drawing/2014/main" id="{767CBE20-A9B1-4A35-83D8-A73BEBC38B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3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53B5A437-9046-4D9A-B9A8-6545E19F54E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B101C1CC-2FB9-44F0-AA12-C9ED7656440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5D0EF105-BA09-4670-B8E9-4C9C082BED0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279220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8C807397-FCCB-47FB-AD0D-F4EF80200F39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8101242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9621832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7488">
          <p15:clr>
            <a:srgbClr val="FBAE40"/>
          </p15:clr>
        </p15:guide>
        <p15:guide id="4" pos="192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3 Horiz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D1B004D-3DA5-4FB1-86C3-AEE8370F2FDB}"/>
              </a:ext>
            </a:extLst>
          </p:cNvPr>
          <p:cNvCxnSpPr>
            <a:cxnSpLocks/>
          </p:cNvCxnSpPr>
          <p:nvPr/>
        </p:nvCxnSpPr>
        <p:spPr>
          <a:xfrm>
            <a:off x="446181" y="2955131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2C906EE-1306-469E-9B3A-03111095D817}"/>
              </a:ext>
            </a:extLst>
          </p:cNvPr>
          <p:cNvCxnSpPr>
            <a:cxnSpLocks/>
          </p:cNvCxnSpPr>
          <p:nvPr/>
        </p:nvCxnSpPr>
        <p:spPr>
          <a:xfrm>
            <a:off x="446181" y="4591845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B054C7E-EC6C-4C07-AE9B-BE8CF582738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447800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marL="225425" indent="-22542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E00503B-625A-40D6-A09F-268AABD4BA0D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69743" y="3084514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2085E28-D41A-4AB4-A103-F6E2760E09CD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57200" y="4721227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DD620418-EEB2-4760-B008-A8F072EDD2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39B2C728-A5A1-4484-A619-4E9E480843E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EB014FE1-F0E6-4EE1-923A-906D66CBAB5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8439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  <p15:guide id="4" orient="horz" pos="912">
          <p15:clr>
            <a:srgbClr val="FBAE40"/>
          </p15:clr>
        </p15:guide>
        <p15:guide id="5" orient="horz" pos="3840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/Sub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3BFEB-E3E2-40B7-A253-8DF9A4ADA8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1347732"/>
            <a:ext cx="11582400" cy="404868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spcBef>
                <a:spcPts val="0"/>
              </a:spcBef>
              <a:buNone/>
              <a:defRPr sz="2000"/>
            </a:lvl1pPr>
          </a:lstStyle>
          <a:p>
            <a:pPr lvl="0"/>
            <a:r>
              <a:rPr lang="en-US"/>
              <a:t>[Subtitle]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0162BD97-CE5D-4353-8684-0E76CAC1F5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828800"/>
            <a:ext cx="11582400" cy="4572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76293CAC-E1C7-430F-9B47-1D1372474C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9DBFC91C-8CCE-4BFA-A2DB-040D53241C3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92BDF944-3173-46A4-AE85-8B2DF233C2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40015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ny Profil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133D873-0981-44B3-9F23-FE6A66F25CCB}"/>
              </a:ext>
            </a:extLst>
          </p:cNvPr>
          <p:cNvSpPr/>
          <p:nvPr/>
        </p:nvSpPr>
        <p:spPr bwMode="gray">
          <a:xfrm>
            <a:off x="4060824" y="1981200"/>
            <a:ext cx="4067176" cy="355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>
              <a:latin typeface="+mn-lt"/>
            </a:endParaRPr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7F5A84BC-8CC7-416E-9A02-8994A246FEE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24F236D9-79B7-45F4-A450-3A5A22D976B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800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62C69F86-EB6F-4E6A-A481-EF2943D418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4265612" y="3419022"/>
            <a:ext cx="3657600" cy="75202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72265DCB-702C-4B39-866D-759DBA9B8E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white">
          <a:xfrm>
            <a:off x="4265612" y="4267200"/>
            <a:ext cx="3657600" cy="7266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7229CF78-FD03-4D68-8B06-A070ACC258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F3E5A779-8138-44AD-8594-A3305B7734C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C64B3573-DB9B-417D-84AB-8F4B046431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15161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982ECDED-16BD-46CC-9E54-CE94F63779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E5BC33B8-03C1-47C6-B7A6-54A66971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00506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Full Imag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457200"/>
            <a:ext cx="121920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9EF93357-ACE0-401E-B673-E62DD3B4B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18969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 Band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5">
            <a:extLst>
              <a:ext uri="{FF2B5EF4-FFF2-40B4-BE49-F238E27FC236}">
                <a16:creationId xmlns:a16="http://schemas.microsoft.com/office/drawing/2014/main" id="{28220791-D495-4D87-90C8-E922F6083CC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752600"/>
            <a:ext cx="12192000" cy="33782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982ECDED-16BD-46CC-9E54-CE94F63779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E5BC33B8-03C1-47C6-B7A6-54A66971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35105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ccess Story (Unnam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57200"/>
            <a:ext cx="41148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en-US" dirty="0"/>
              <a:t>7 x ‘ 4.5 @ 96dpi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graphicFrame>
        <p:nvGraphicFramePr>
          <p:cNvPr id="8" name="Body Copy">
            <a:extLst>
              <a:ext uri="{FF2B5EF4-FFF2-40B4-BE49-F238E27FC236}">
                <a16:creationId xmlns:a16="http://schemas.microsoft.com/office/drawing/2014/main" id="{97B60F81-633F-4646-AA98-205101671A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6447254"/>
              </p:ext>
            </p:extLst>
          </p:nvPr>
        </p:nvGraphicFramePr>
        <p:xfrm>
          <a:off x="4419600" y="1855716"/>
          <a:ext cx="7467600" cy="4167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0780">
                  <a:extLst>
                    <a:ext uri="{9D8B030D-6E8A-4147-A177-3AD203B41FA5}">
                      <a16:colId xmlns:a16="http://schemas.microsoft.com/office/drawing/2014/main" val="946091691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1729550602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614543895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4208229438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081490778"/>
                    </a:ext>
                  </a:extLst>
                </a:gridCol>
              </a:tblGrid>
              <a:tr h="416716"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usiness need</a:t>
                      </a:r>
                      <a:r>
                        <a:rPr kumimoji="1" lang="en-US" sz="20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olution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utcomes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4790786"/>
                  </a:ext>
                </a:extLst>
              </a:tr>
            </a:tbl>
          </a:graphicData>
        </a:graphic>
      </p:graphicFrame>
      <p:sp>
        <p:nvSpPr>
          <p:cNvPr id="9" name="Title 3">
            <a:extLst>
              <a:ext uri="{FF2B5EF4-FFF2-40B4-BE49-F238E27FC236}">
                <a16:creationId xmlns:a16="http://schemas.microsoft.com/office/drawing/2014/main" id="{4403474F-4C11-4C2F-9EC3-2AA63BBDF2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19600" y="640080"/>
            <a:ext cx="7467600" cy="55220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defRPr lang="en-US" b="1" dirty="0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r>
              <a:rPr lang="en-US"/>
              <a:t>Generic Description of Client (Title Case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2E2D38-5330-481A-8A2D-27515EAB60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19600" y="1295400"/>
            <a:ext cx="7467600" cy="4572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60955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1219109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828662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243821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Subhead (Sentence case, no punctuation)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C834197-400F-446C-8C06-80562BDF75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19599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sz="1050"/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lang="en-GB" sz="1050"/>
              <a:t>Example: The client needed to boost operational efficiency, flexibility and agility so it could continuously respond to customer demand.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09CAB2B-0D59-4F3A-8262-32034F757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81825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The client partners with </a:t>
            </a:r>
            <a:b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</a:b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NTT DATA to manage IT infrastructure services — covering data </a:t>
            </a:r>
            <a:r>
              <a:rPr kumimoji="1" lang="en-US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center</a:t>
            </a: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 and help desk operations, security, servers, networking and messaging — so staff can focus on the core business.</a:t>
            </a:r>
            <a:endParaRPr lang="en-US" sz="1050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4C75FEB-4BF0-4940-9459-71F22DCD8AD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528048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227013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pPr marL="227013" lvl="0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444444"/>
                </a:solidFill>
                <a:ea typeface="Museo Sans For Dell" pitchFamily="2" charset="0"/>
              </a:rPr>
              <a:t>Bullets</a:t>
            </a:r>
            <a:endParaRPr kumimoji="1" lang="en-US" sz="1050">
              <a:solidFill>
                <a:srgbClr val="444444"/>
              </a:solidFill>
              <a:ea typeface="Museo Sans For Dell" pitchFamily="2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10DB331-BCC2-4933-82DD-8532EA7B4DB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19600" y="4876800"/>
            <a:ext cx="7467600" cy="1060839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-- Remove Before Presenting -- For the Development of “Success Stories” Only (unnamed or anonymous case studies)</a:t>
            </a:r>
          </a:p>
        </p:txBody>
      </p:sp>
    </p:spTree>
    <p:extLst>
      <p:ext uri="{BB962C8B-B14F-4D97-AF65-F5344CB8AC3E}">
        <p14:creationId xmlns:p14="http://schemas.microsoft.com/office/powerpoint/2010/main" val="24193479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A4AC4E7-4E1D-4EEA-B383-BA8B1F15F7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199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53D318D-5BC0-4FD7-84F6-570AAD7A014D}"/>
              </a:ext>
            </a:extLst>
          </p:cNvPr>
          <p:cNvCxnSpPr>
            <a:cxnSpLocks/>
          </p:cNvCxnSpPr>
          <p:nvPr userDrawn="1"/>
        </p:nvCxnSpPr>
        <p:spPr>
          <a:xfrm>
            <a:off x="4184986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9893623-AAB5-4C02-BC15-F45AA3A235AA}"/>
              </a:ext>
            </a:extLst>
          </p:cNvPr>
          <p:cNvCxnSpPr>
            <a:cxnSpLocks/>
          </p:cNvCxnSpPr>
          <p:nvPr userDrawn="1"/>
        </p:nvCxnSpPr>
        <p:spPr>
          <a:xfrm>
            <a:off x="8007007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3">
            <a:extLst>
              <a:ext uri="{FF2B5EF4-FFF2-40B4-BE49-F238E27FC236}">
                <a16:creationId xmlns:a16="http://schemas.microsoft.com/office/drawing/2014/main" id="{767CBE20-A9B1-4A35-83D8-A73BEBC38B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3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53B5A437-9046-4D9A-B9A8-6545E19F54E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B101C1CC-2FB9-44F0-AA12-C9ED7656440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5D0EF105-BA09-4670-B8E9-4C9C082BED0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279220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8C807397-FCCB-47FB-AD0D-F4EF80200F39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8101242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6289700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7488">
          <p15:clr>
            <a:srgbClr val="FBAE40"/>
          </p15:clr>
        </p15:guide>
        <p15:guide id="4" pos="192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lide - BH-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3113690"/>
            <a:ext cx="2080171" cy="374431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12832EA-CDD3-468B-986D-C2A74387AB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4DD751-D7CE-4A02-94D3-1F2D41366F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6E4D8CF-0D05-45F7-8EE6-FF44BB9F9B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2800" y="1371600"/>
            <a:ext cx="8229600" cy="4495800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+mj-lt"/>
              <a:buAutoNum type="arabicPeriod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0BA10AE1-3D57-4205-BB6A-E3BB463E32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81000"/>
            <a:ext cx="11582400" cy="81128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6FD1BB08-7F92-4AC5-95F5-578AB569465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6785C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92275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92">
          <p15:clr>
            <a:srgbClr val="FBAE40"/>
          </p15:clr>
        </p15:guide>
        <p15:guide id="3" pos="7488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uman Agenda Slide - BH-H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3113690"/>
            <a:ext cx="2080171" cy="3744310"/>
          </a:xfrm>
          <a:prstGeom prst="rect">
            <a:avLst/>
          </a:prstGeom>
        </p:spPr>
      </p:pic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A97DDC82-36D5-4738-989D-30338EA824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2800" y="1371600"/>
            <a:ext cx="8153400" cy="4800600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+mj-lt"/>
              <a:buAutoNum type="arabicPeriod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12832EA-CDD3-468B-986D-C2A74387AB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301752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4DD751-D7CE-4A02-94D3-1F2D41366F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1084B5D6-E13F-49DD-9723-965CD01789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81000"/>
            <a:ext cx="11582400" cy="81128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>
                <a:solidFill>
                  <a:schemeClr val="bg1"/>
                </a:solidFill>
              </a:defRPr>
            </a:lvl1pPr>
          </a:lstStyle>
          <a:p>
            <a:r>
              <a:rPr lang="en-US"/>
              <a:t>[Title]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FC4CCBF6-B1C3-46CC-A9D2-020E4383864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34409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92">
          <p15:clr>
            <a:srgbClr val="FBAE40"/>
          </p15:clr>
        </p15:guide>
        <p15:guide id="3" pos="7488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09FEE01-6D38-4AFF-8E39-8403A0C9ED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447800"/>
            <a:ext cx="11582400" cy="477012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0BA91AD-94D7-45DB-9DC0-AA0B54CD69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875DB9-62CF-4691-983F-E0B1CA6CEBD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C2FECC32-09FA-4F0A-99B9-53FF86115D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34847546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  <p15:guide id="5" orient="horz" pos="288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9D32AD7-4EC4-4336-8E66-DAF3CD63E129}"/>
              </a:ext>
            </a:extLst>
          </p:cNvPr>
          <p:cNvCxnSpPr>
            <a:cxnSpLocks/>
          </p:cNvCxnSpPr>
          <p:nvPr userDrawn="1"/>
        </p:nvCxnSpPr>
        <p:spPr>
          <a:xfrm>
            <a:off x="6094413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A3F0FF2-9D07-4173-8901-D515EA8C80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1447800"/>
            <a:ext cx="5410200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5085B24-6983-47FE-AA4D-FD610A3D3BE7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321426" y="1447800"/>
            <a:ext cx="5413362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5135ECDE-9650-420F-B887-80D8299F5C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C28CFF88-D122-4C72-90AF-98AEC7B19CF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A4634491-90BC-4AE1-BB5A-332230E4AA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68240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A4AC4E7-4E1D-4EEA-B383-BA8B1F15F7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199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53D318D-5BC0-4FD7-84F6-570AAD7A014D}"/>
              </a:ext>
            </a:extLst>
          </p:cNvPr>
          <p:cNvCxnSpPr>
            <a:cxnSpLocks/>
          </p:cNvCxnSpPr>
          <p:nvPr userDrawn="1"/>
        </p:nvCxnSpPr>
        <p:spPr>
          <a:xfrm>
            <a:off x="4184986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9893623-AAB5-4C02-BC15-F45AA3A235AA}"/>
              </a:ext>
            </a:extLst>
          </p:cNvPr>
          <p:cNvCxnSpPr>
            <a:cxnSpLocks/>
          </p:cNvCxnSpPr>
          <p:nvPr userDrawn="1"/>
        </p:nvCxnSpPr>
        <p:spPr>
          <a:xfrm>
            <a:off x="8007007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3">
            <a:extLst>
              <a:ext uri="{FF2B5EF4-FFF2-40B4-BE49-F238E27FC236}">
                <a16:creationId xmlns:a16="http://schemas.microsoft.com/office/drawing/2014/main" id="{767CBE20-A9B1-4A35-83D8-A73BEBC38B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3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53B5A437-9046-4D9A-B9A8-6545E19F54E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B101C1CC-2FB9-44F0-AA12-C9ED7656440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5D0EF105-BA09-4670-B8E9-4C9C082BED0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279220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8C807397-FCCB-47FB-AD0D-F4EF80200F39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8101242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9987447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7488">
          <p15:clr>
            <a:srgbClr val="FBAE40"/>
          </p15:clr>
        </p15:guide>
        <p15:guide id="4" pos="192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Horiz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D1B004D-3DA5-4FB1-86C3-AEE8370F2FDB}"/>
              </a:ext>
            </a:extLst>
          </p:cNvPr>
          <p:cNvCxnSpPr>
            <a:cxnSpLocks/>
          </p:cNvCxnSpPr>
          <p:nvPr userDrawn="1"/>
        </p:nvCxnSpPr>
        <p:spPr>
          <a:xfrm>
            <a:off x="446181" y="2955131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2C906EE-1306-469E-9B3A-03111095D817}"/>
              </a:ext>
            </a:extLst>
          </p:cNvPr>
          <p:cNvCxnSpPr>
            <a:cxnSpLocks/>
          </p:cNvCxnSpPr>
          <p:nvPr userDrawn="1"/>
        </p:nvCxnSpPr>
        <p:spPr>
          <a:xfrm>
            <a:off x="446181" y="4591845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B054C7E-EC6C-4C07-AE9B-BE8CF582738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447800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marL="225425" indent="-22542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E00503B-625A-40D6-A09F-268AABD4BA0D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69743" y="3084514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2085E28-D41A-4AB4-A103-F6E2760E09CD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57200" y="4721227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DD620418-EEB2-4760-B008-A8F072EDD2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39B2C728-A5A1-4484-A619-4E9E480843E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EB014FE1-F0E6-4EE1-923A-906D66CBAB5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313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  <p15:guide id="4" orient="horz" pos="912">
          <p15:clr>
            <a:srgbClr val="FBAE40"/>
          </p15:clr>
        </p15:guide>
        <p15:guide id="5" orient="horz" pos="3840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/Sub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3BFEB-E3E2-40B7-A253-8DF9A4ADA8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1347732"/>
            <a:ext cx="11582400" cy="404868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spcBef>
                <a:spcPts val="0"/>
              </a:spcBef>
              <a:buNone/>
              <a:defRPr sz="2000"/>
            </a:lvl1pPr>
          </a:lstStyle>
          <a:p>
            <a:pPr lvl="0"/>
            <a:r>
              <a:rPr lang="en-US"/>
              <a:t>[Subtitle]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0162BD97-CE5D-4353-8684-0E76CAC1F5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828800"/>
            <a:ext cx="11582400" cy="4572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76293CAC-E1C7-430F-9B47-1D1372474C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9DBFC91C-8CCE-4BFA-A2DB-040D53241C3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92BDF944-3173-46A4-AE85-8B2DF233C2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23783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ny Profil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133D873-0981-44B3-9F23-FE6A66F25CCB}"/>
              </a:ext>
            </a:extLst>
          </p:cNvPr>
          <p:cNvSpPr/>
          <p:nvPr userDrawn="1"/>
        </p:nvSpPr>
        <p:spPr bwMode="gray">
          <a:xfrm>
            <a:off x="4060824" y="1981200"/>
            <a:ext cx="4067176" cy="355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>
              <a:latin typeface="+mn-lt"/>
            </a:endParaRPr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7F5A84BC-8CC7-416E-9A02-8994A246FEE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24F236D9-79B7-45F4-A450-3A5A22D976B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800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62C69F86-EB6F-4E6A-A481-EF2943D418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4265612" y="3419022"/>
            <a:ext cx="3657600" cy="75202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72265DCB-702C-4B39-866D-759DBA9B8E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white">
          <a:xfrm>
            <a:off x="4265612" y="4267200"/>
            <a:ext cx="3657600" cy="7266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7229CF78-FD03-4D68-8B06-A070ACC258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F3E5A779-8138-44AD-8594-A3305B7734C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C64B3573-DB9B-417D-84AB-8F4B046431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4746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Full Imag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457200"/>
            <a:ext cx="121920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9EF93357-ACE0-401E-B673-E62DD3B4B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0190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Image Band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5">
            <a:extLst>
              <a:ext uri="{FF2B5EF4-FFF2-40B4-BE49-F238E27FC236}">
                <a16:creationId xmlns:a16="http://schemas.microsoft.com/office/drawing/2014/main" id="{28220791-D495-4D87-90C8-E922F6083CC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752600"/>
            <a:ext cx="12192000" cy="33782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982ECDED-16BD-46CC-9E54-CE94F63779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E5BC33B8-03C1-47C6-B7A6-54A66971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01507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Horiz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D1B004D-3DA5-4FB1-86C3-AEE8370F2FDB}"/>
              </a:ext>
            </a:extLst>
          </p:cNvPr>
          <p:cNvCxnSpPr>
            <a:cxnSpLocks/>
          </p:cNvCxnSpPr>
          <p:nvPr userDrawn="1"/>
        </p:nvCxnSpPr>
        <p:spPr>
          <a:xfrm>
            <a:off x="446181" y="2955131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2C906EE-1306-469E-9B3A-03111095D817}"/>
              </a:ext>
            </a:extLst>
          </p:cNvPr>
          <p:cNvCxnSpPr>
            <a:cxnSpLocks/>
          </p:cNvCxnSpPr>
          <p:nvPr userDrawn="1"/>
        </p:nvCxnSpPr>
        <p:spPr>
          <a:xfrm>
            <a:off x="446181" y="4591845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B054C7E-EC6C-4C07-AE9B-BE8CF582738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447800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marL="225425" indent="-22542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E00503B-625A-40D6-A09F-268AABD4BA0D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69743" y="3084514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2085E28-D41A-4AB4-A103-F6E2760E09CD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57200" y="4721227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DD620418-EEB2-4760-B008-A8F072EDD2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39B2C728-A5A1-4484-A619-4E9E480843E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EB014FE1-F0E6-4EE1-923A-906D66CBAB5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03880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  <p15:guide id="4" orient="horz" pos="912">
          <p15:clr>
            <a:srgbClr val="FBAE40"/>
          </p15:clr>
        </p15:guide>
        <p15:guide id="5" orient="horz" pos="3840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ccess Story (Unnam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57200"/>
            <a:ext cx="41148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en-US" dirty="0"/>
              <a:t>7 x ‘ 4.5 @ 96dpi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graphicFrame>
        <p:nvGraphicFramePr>
          <p:cNvPr id="8" name="Body Copy">
            <a:extLst>
              <a:ext uri="{FF2B5EF4-FFF2-40B4-BE49-F238E27FC236}">
                <a16:creationId xmlns:a16="http://schemas.microsoft.com/office/drawing/2014/main" id="{97B60F81-633F-4646-AA98-205101671A2A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786447254"/>
              </p:ext>
            </p:extLst>
          </p:nvPr>
        </p:nvGraphicFramePr>
        <p:xfrm>
          <a:off x="4419600" y="1855716"/>
          <a:ext cx="7467600" cy="4167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0780">
                  <a:extLst>
                    <a:ext uri="{9D8B030D-6E8A-4147-A177-3AD203B41FA5}">
                      <a16:colId xmlns:a16="http://schemas.microsoft.com/office/drawing/2014/main" val="946091691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1729550602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614543895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4208229438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081490778"/>
                    </a:ext>
                  </a:extLst>
                </a:gridCol>
              </a:tblGrid>
              <a:tr h="416716"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usiness need</a:t>
                      </a:r>
                      <a:r>
                        <a:rPr kumimoji="1" lang="en-US" sz="20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olution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utcomes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4790786"/>
                  </a:ext>
                </a:extLst>
              </a:tr>
            </a:tbl>
          </a:graphicData>
        </a:graphic>
      </p:graphicFrame>
      <p:sp>
        <p:nvSpPr>
          <p:cNvPr id="9" name="Title 3">
            <a:extLst>
              <a:ext uri="{FF2B5EF4-FFF2-40B4-BE49-F238E27FC236}">
                <a16:creationId xmlns:a16="http://schemas.microsoft.com/office/drawing/2014/main" id="{4403474F-4C11-4C2F-9EC3-2AA63BBDF2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19600" y="640080"/>
            <a:ext cx="7467600" cy="55220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defRPr lang="en-US" b="1" dirty="0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r>
              <a:rPr lang="en-US"/>
              <a:t>Generic Description of Client (Title Case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2E2D38-5330-481A-8A2D-27515EAB60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19600" y="1295400"/>
            <a:ext cx="7467600" cy="4572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60955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1219109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828662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243821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Subhead (Sentence case, no punctuation)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C834197-400F-446C-8C06-80562BDF75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19599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sz="1050"/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lang="en-GB" sz="1050"/>
              <a:t>Example: The client needed to boost operational efficiency, flexibility and agility so it could continuously respond to customer demand.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09CAB2B-0D59-4F3A-8262-32034F757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81825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The client partners with </a:t>
            </a:r>
            <a:b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</a:b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NTT DATA to manage IT infrastructure services — covering data </a:t>
            </a:r>
            <a:r>
              <a:rPr kumimoji="1" lang="en-US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center</a:t>
            </a: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 and help desk operations, security, servers, networking and messaging — so staff can focus on the core business.</a:t>
            </a:r>
            <a:endParaRPr lang="en-US" sz="1050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4C75FEB-4BF0-4940-9459-71F22DCD8AD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528048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227013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pPr marL="227013" lvl="0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444444"/>
                </a:solidFill>
                <a:ea typeface="Museo Sans For Dell" pitchFamily="2" charset="0"/>
              </a:rPr>
              <a:t>Bullets</a:t>
            </a:r>
            <a:endParaRPr kumimoji="1" lang="en-US" sz="1050">
              <a:solidFill>
                <a:srgbClr val="444444"/>
              </a:solidFill>
              <a:ea typeface="Museo Sans For Dell" pitchFamily="2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10DB331-BCC2-4933-82DD-8532EA7B4DB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19600" y="4876800"/>
            <a:ext cx="7467600" cy="1060839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-- Remove Before Presenting -- For the Development of “Success Stories” Only (unnamed or anonymous case studies)</a:t>
            </a:r>
          </a:p>
        </p:txBody>
      </p:sp>
    </p:spTree>
    <p:extLst>
      <p:ext uri="{BB962C8B-B14F-4D97-AF65-F5344CB8AC3E}">
        <p14:creationId xmlns:p14="http://schemas.microsoft.com/office/powerpoint/2010/main" val="13084777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609441" y="1066800"/>
            <a:ext cx="10969943" cy="51054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173736" y="0"/>
            <a:ext cx="10515600" cy="722376"/>
          </a:xfrm>
          <a:prstGeom prst="rect">
            <a:avLst/>
          </a:prstGeom>
        </p:spPr>
        <p:txBody>
          <a:bodyPr tIns="109728" anchor="ctr"/>
          <a:lstStyle>
            <a:lvl1pPr marL="226468" marR="0" indent="-226468" algn="l" defTabSz="6095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 kumimoji="1" lang="en-US" sz="2400" kern="1200" spc="0" baseline="0">
                <a:solidFill>
                  <a:schemeClr val="tx1"/>
                </a:solidFill>
                <a:latin typeface="+mn-lt"/>
                <a:ea typeface="+mj-ea"/>
                <a:cs typeface="Arial"/>
              </a:defRPr>
            </a:lvl1pPr>
          </a:lstStyle>
          <a:p>
            <a:pPr marL="226468" marR="0" lvl="0" indent="-226468" algn="l" defTabSz="6095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en-US" altLang="ja-JP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21808492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Slide - Smart Nav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5">
            <a:extLst>
              <a:ext uri="{FF2B5EF4-FFF2-40B4-BE49-F238E27FC236}">
                <a16:creationId xmlns:a16="http://schemas.microsoft.com/office/drawing/2014/main" id="{998ED156-1AB5-4B96-BB64-69BB7DD751EA}"/>
              </a:ext>
            </a:extLst>
          </p:cNvPr>
          <p:cNvSpPr>
            <a:spLocks/>
          </p:cNvSpPr>
          <p:nvPr userDrawn="1"/>
        </p:nvSpPr>
        <p:spPr bwMode="auto">
          <a:xfrm>
            <a:off x="3175" y="0"/>
            <a:ext cx="5224380" cy="6858000"/>
          </a:xfrm>
          <a:custGeom>
            <a:avLst/>
            <a:gdLst>
              <a:gd name="T0" fmla="*/ 1111 w 1691"/>
              <a:gd name="T1" fmla="*/ 1108 h 2215"/>
              <a:gd name="T2" fmla="*/ 1108 w 1691"/>
              <a:gd name="T3" fmla="*/ 1108 h 2215"/>
              <a:gd name="T4" fmla="*/ 1108 w 1691"/>
              <a:gd name="T5" fmla="*/ 1102 h 2215"/>
              <a:gd name="T6" fmla="*/ 815 w 1691"/>
              <a:gd name="T7" fmla="*/ 569 h 2215"/>
              <a:gd name="T8" fmla="*/ 0 w 1691"/>
              <a:gd name="T9" fmla="*/ 0 h 2215"/>
              <a:gd name="T10" fmla="*/ 0 w 1691"/>
              <a:gd name="T11" fmla="*/ 1108 h 2215"/>
              <a:gd name="T12" fmla="*/ 0 w 1691"/>
              <a:gd name="T13" fmla="*/ 1213 h 2215"/>
              <a:gd name="T14" fmla="*/ 34 w 1691"/>
              <a:gd name="T15" fmla="*/ 1257 h 2215"/>
              <a:gd name="T16" fmla="*/ 522 w 1691"/>
              <a:gd name="T17" fmla="*/ 2215 h 2215"/>
              <a:gd name="T18" fmla="*/ 1108 w 1691"/>
              <a:gd name="T19" fmla="*/ 2215 h 2215"/>
              <a:gd name="T20" fmla="*/ 1691 w 1691"/>
              <a:gd name="T21" fmla="*/ 2215 h 2215"/>
              <a:gd name="T22" fmla="*/ 1111 w 1691"/>
              <a:gd name="T23" fmla="*/ 1108 h 22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691" h="2215">
                <a:moveTo>
                  <a:pt x="1111" y="1108"/>
                </a:moveTo>
                <a:cubicBezTo>
                  <a:pt x="1108" y="1108"/>
                  <a:pt x="1108" y="1108"/>
                  <a:pt x="1108" y="1108"/>
                </a:cubicBezTo>
                <a:cubicBezTo>
                  <a:pt x="1108" y="1102"/>
                  <a:pt x="1108" y="1102"/>
                  <a:pt x="1108" y="1102"/>
                </a:cubicBezTo>
                <a:cubicBezTo>
                  <a:pt x="965" y="833"/>
                  <a:pt x="857" y="635"/>
                  <a:pt x="815" y="569"/>
                </a:cubicBezTo>
                <a:cubicBezTo>
                  <a:pt x="624" y="269"/>
                  <a:pt x="397" y="50"/>
                  <a:pt x="0" y="0"/>
                </a:cubicBezTo>
                <a:cubicBezTo>
                  <a:pt x="0" y="1108"/>
                  <a:pt x="0" y="1108"/>
                  <a:pt x="0" y="1108"/>
                </a:cubicBezTo>
                <a:cubicBezTo>
                  <a:pt x="0" y="1213"/>
                  <a:pt x="0" y="1213"/>
                  <a:pt x="0" y="1213"/>
                </a:cubicBezTo>
                <a:cubicBezTo>
                  <a:pt x="13" y="1224"/>
                  <a:pt x="24" y="1239"/>
                  <a:pt x="34" y="1257"/>
                </a:cubicBezTo>
                <a:cubicBezTo>
                  <a:pt x="42" y="1273"/>
                  <a:pt x="250" y="1684"/>
                  <a:pt x="522" y="2215"/>
                </a:cubicBezTo>
                <a:cubicBezTo>
                  <a:pt x="1108" y="2215"/>
                  <a:pt x="1108" y="2215"/>
                  <a:pt x="1108" y="2215"/>
                </a:cubicBezTo>
                <a:cubicBezTo>
                  <a:pt x="1691" y="2215"/>
                  <a:pt x="1691" y="2215"/>
                  <a:pt x="1691" y="2215"/>
                </a:cubicBezTo>
                <a:cubicBezTo>
                  <a:pt x="1483" y="1814"/>
                  <a:pt x="1274" y="1415"/>
                  <a:pt x="1111" y="1108"/>
                </a:cubicBezTo>
                <a:close/>
              </a:path>
            </a:pathLst>
          </a:custGeom>
          <a:solidFill>
            <a:srgbClr val="0B153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B94F3CAE-F017-42CE-84B2-45CA729003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C88D7D23-6380-4790-9407-F2DB10096D0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EED1E5A-B740-4A27-9D93-3496F12EADD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62400" y="1295400"/>
            <a:ext cx="7543800" cy="43434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609556" indent="0">
              <a:buNone/>
              <a:defRPr>
                <a:solidFill>
                  <a:schemeClr val="bg1"/>
                </a:solidFill>
              </a:defRPr>
            </a:lvl2pPr>
            <a:lvl3pPr marL="1219109" indent="0">
              <a:buNone/>
              <a:defRPr>
                <a:solidFill>
                  <a:schemeClr val="bg1"/>
                </a:solidFill>
              </a:defRPr>
            </a:lvl3pPr>
            <a:lvl4pPr marL="1828662" indent="0">
              <a:buNone/>
              <a:defRPr>
                <a:solidFill>
                  <a:schemeClr val="bg1"/>
                </a:solidFill>
              </a:defRPr>
            </a:lvl4pPr>
            <a:lvl5pPr marL="2438216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[Middle Title Page]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1DB5E23D-9A6F-46FB-82D8-1B163F8593FD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4648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92">
          <p15:clr>
            <a:srgbClr val="FBAE40"/>
          </p15:clr>
        </p15:guide>
        <p15:guide id="3" pos="7488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lide - BH-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3113690"/>
            <a:ext cx="2080171" cy="374431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12832EA-CDD3-468B-986D-C2A74387AB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4DD751-D7CE-4A02-94D3-1F2D41366F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6E4D8CF-0D05-45F7-8EE6-FF44BB9F9B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2800" y="1371600"/>
            <a:ext cx="8229600" cy="4495800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+mj-lt"/>
              <a:buAutoNum type="arabicPeriod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0BA10AE1-3D57-4205-BB6A-E3BB463E32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81000"/>
            <a:ext cx="11582400" cy="81128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6FD1BB08-7F92-4AC5-95F5-578AB569465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6785C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4139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92">
          <p15:clr>
            <a:srgbClr val="FBAE40"/>
          </p15:clr>
        </p15:guide>
        <p15:guide id="3" pos="7488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uman Agenda Slide - BH-H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3113690"/>
            <a:ext cx="2080171" cy="3744310"/>
          </a:xfrm>
          <a:prstGeom prst="rect">
            <a:avLst/>
          </a:prstGeom>
        </p:spPr>
      </p:pic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A97DDC82-36D5-4738-989D-30338EA824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2800" y="1371600"/>
            <a:ext cx="8153400" cy="4800600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+mj-lt"/>
              <a:buAutoNum type="arabicPeriod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12832EA-CDD3-468B-986D-C2A74387AB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301752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4DD751-D7CE-4A02-94D3-1F2D41366F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1084B5D6-E13F-49DD-9723-965CD01789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81000"/>
            <a:ext cx="11582400" cy="81128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>
                <a:solidFill>
                  <a:schemeClr val="bg1"/>
                </a:solidFill>
              </a:defRPr>
            </a:lvl1pPr>
          </a:lstStyle>
          <a:p>
            <a:r>
              <a:rPr lang="en-US"/>
              <a:t>[Title]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FC4CCBF6-B1C3-46CC-A9D2-020E4383864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26136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92">
          <p15:clr>
            <a:srgbClr val="FBAE40"/>
          </p15:clr>
        </p15:guide>
        <p15:guide id="3" pos="7488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09FEE01-6D38-4AFF-8E39-8403A0C9ED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447800"/>
            <a:ext cx="11582400" cy="477012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0BA91AD-94D7-45DB-9DC0-AA0B54CD69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875DB9-62CF-4691-983F-E0B1CA6CEBD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C2FECC32-09FA-4F0A-99B9-53FF86115D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36480724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  <p15:guide id="5" orient="horz" pos="288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9D32AD7-4EC4-4336-8E66-DAF3CD63E129}"/>
              </a:ext>
            </a:extLst>
          </p:cNvPr>
          <p:cNvCxnSpPr>
            <a:cxnSpLocks/>
          </p:cNvCxnSpPr>
          <p:nvPr userDrawn="1"/>
        </p:nvCxnSpPr>
        <p:spPr>
          <a:xfrm>
            <a:off x="6094413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A3F0FF2-9D07-4173-8901-D515EA8C80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1447800"/>
            <a:ext cx="5410200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5085B24-6983-47FE-AA4D-FD610A3D3BE7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321426" y="1447800"/>
            <a:ext cx="5413362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5135ECDE-9650-420F-B887-80D8299F5C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C28CFF88-D122-4C72-90AF-98AEC7B19CF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A4634491-90BC-4AE1-BB5A-332230E4AA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77849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A4AC4E7-4E1D-4EEA-B383-BA8B1F15F7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199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53D318D-5BC0-4FD7-84F6-570AAD7A014D}"/>
              </a:ext>
            </a:extLst>
          </p:cNvPr>
          <p:cNvCxnSpPr>
            <a:cxnSpLocks/>
          </p:cNvCxnSpPr>
          <p:nvPr userDrawn="1"/>
        </p:nvCxnSpPr>
        <p:spPr>
          <a:xfrm>
            <a:off x="4184986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9893623-AAB5-4C02-BC15-F45AA3A235AA}"/>
              </a:ext>
            </a:extLst>
          </p:cNvPr>
          <p:cNvCxnSpPr>
            <a:cxnSpLocks/>
          </p:cNvCxnSpPr>
          <p:nvPr userDrawn="1"/>
        </p:nvCxnSpPr>
        <p:spPr>
          <a:xfrm>
            <a:off x="8007007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3">
            <a:extLst>
              <a:ext uri="{FF2B5EF4-FFF2-40B4-BE49-F238E27FC236}">
                <a16:creationId xmlns:a16="http://schemas.microsoft.com/office/drawing/2014/main" id="{767CBE20-A9B1-4A35-83D8-A73BEBC38B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3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53B5A437-9046-4D9A-B9A8-6545E19F54E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B101C1CC-2FB9-44F0-AA12-C9ED7656440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5D0EF105-BA09-4670-B8E9-4C9C082BED0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279220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8C807397-FCCB-47FB-AD0D-F4EF80200F39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8101242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2898794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7488">
          <p15:clr>
            <a:srgbClr val="FBAE40"/>
          </p15:clr>
        </p15:guide>
        <p15:guide id="4" pos="192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Horiz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D1B004D-3DA5-4FB1-86C3-AEE8370F2FDB}"/>
              </a:ext>
            </a:extLst>
          </p:cNvPr>
          <p:cNvCxnSpPr>
            <a:cxnSpLocks/>
          </p:cNvCxnSpPr>
          <p:nvPr userDrawn="1"/>
        </p:nvCxnSpPr>
        <p:spPr>
          <a:xfrm>
            <a:off x="446181" y="2955131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2C906EE-1306-469E-9B3A-03111095D817}"/>
              </a:ext>
            </a:extLst>
          </p:cNvPr>
          <p:cNvCxnSpPr>
            <a:cxnSpLocks/>
          </p:cNvCxnSpPr>
          <p:nvPr userDrawn="1"/>
        </p:nvCxnSpPr>
        <p:spPr>
          <a:xfrm>
            <a:off x="446181" y="4591845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B054C7E-EC6C-4C07-AE9B-BE8CF582738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447800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marL="225425" indent="-22542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E00503B-625A-40D6-A09F-268AABD4BA0D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69743" y="3084514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2085E28-D41A-4AB4-A103-F6E2760E09CD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57200" y="4721227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DD620418-EEB2-4760-B008-A8F072EDD2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39B2C728-A5A1-4484-A619-4E9E480843E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EB014FE1-F0E6-4EE1-923A-906D66CBAB5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81998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  <p15:guide id="4" orient="horz" pos="912">
          <p15:clr>
            <a:srgbClr val="FBAE40"/>
          </p15:clr>
        </p15:guide>
        <p15:guide id="5" orient="horz" pos="3840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/Sub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3BFEB-E3E2-40B7-A253-8DF9A4ADA8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1347732"/>
            <a:ext cx="11582400" cy="404868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spcBef>
                <a:spcPts val="0"/>
              </a:spcBef>
              <a:buNone/>
              <a:defRPr sz="2000"/>
            </a:lvl1pPr>
          </a:lstStyle>
          <a:p>
            <a:pPr lvl="0"/>
            <a:r>
              <a:rPr lang="en-US"/>
              <a:t>[Subtitle]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0162BD97-CE5D-4353-8684-0E76CAC1F5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828800"/>
            <a:ext cx="11582400" cy="4572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76293CAC-E1C7-430F-9B47-1D1372474C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9DBFC91C-8CCE-4BFA-A2DB-040D53241C3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92BDF944-3173-46A4-AE85-8B2DF233C2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1639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png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26" Type="http://schemas.openxmlformats.org/officeDocument/2006/relationships/slideLayout" Target="../slideLayouts/slideLayout55.xml"/><Relationship Id="rId3" Type="http://schemas.openxmlformats.org/officeDocument/2006/relationships/slideLayout" Target="../slideLayouts/slideLayout32.xml"/><Relationship Id="rId21" Type="http://schemas.openxmlformats.org/officeDocument/2006/relationships/slideLayout" Target="../slideLayouts/slideLayout50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5" Type="http://schemas.openxmlformats.org/officeDocument/2006/relationships/slideLayout" Target="../slideLayouts/slideLayout54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29" Type="http://schemas.openxmlformats.org/officeDocument/2006/relationships/theme" Target="../theme/theme4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24" Type="http://schemas.openxmlformats.org/officeDocument/2006/relationships/slideLayout" Target="../slideLayouts/slideLayout53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slideLayout" Target="../slideLayouts/slideLayout52.xml"/><Relationship Id="rId28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slideLayout" Target="../slideLayouts/slideLayout51.xml"/><Relationship Id="rId27" Type="http://schemas.openxmlformats.org/officeDocument/2006/relationships/slideLayout" Target="../slideLayouts/slideLayout5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2.xml"/><Relationship Id="rId10" Type="http://schemas.openxmlformats.org/officeDocument/2006/relationships/slideLayout" Target="../slideLayouts/slideLayout67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5" Type="http://schemas.openxmlformats.org/officeDocument/2006/relationships/slideLayout" Target="../slideLayouts/slideLayout73.xml"/><Relationship Id="rId10" Type="http://schemas.openxmlformats.org/officeDocument/2006/relationships/slideLayout" Target="../slideLayouts/slideLayout78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13" Type="http://schemas.openxmlformats.org/officeDocument/2006/relationships/slideLayout" Target="../slideLayouts/slideLayout92.xml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12" Type="http://schemas.openxmlformats.org/officeDocument/2006/relationships/slideLayout" Target="../slideLayouts/slideLayout91.xml"/><Relationship Id="rId2" Type="http://schemas.openxmlformats.org/officeDocument/2006/relationships/slideLayout" Target="../slideLayouts/slideLayout81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90.xml"/><Relationship Id="rId5" Type="http://schemas.openxmlformats.org/officeDocument/2006/relationships/slideLayout" Target="../slideLayouts/slideLayout84.xml"/><Relationship Id="rId10" Type="http://schemas.openxmlformats.org/officeDocument/2006/relationships/slideLayout" Target="../slideLayouts/slideLayout89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Relationship Id="rId1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0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95.xml"/><Relationship Id="rId7" Type="http://schemas.openxmlformats.org/officeDocument/2006/relationships/slideLayout" Target="../slideLayouts/slideLayout99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94.xml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11" Type="http://schemas.openxmlformats.org/officeDocument/2006/relationships/slideLayout" Target="../slideLayouts/slideLayout103.xml"/><Relationship Id="rId5" Type="http://schemas.openxmlformats.org/officeDocument/2006/relationships/slideLayout" Target="../slideLayouts/slideLayout97.xml"/><Relationship Id="rId15" Type="http://schemas.openxmlformats.org/officeDocument/2006/relationships/image" Target="../media/image12.emf"/><Relationship Id="rId10" Type="http://schemas.openxmlformats.org/officeDocument/2006/relationships/slideLayout" Target="../slideLayouts/slideLayout102.xml"/><Relationship Id="rId4" Type="http://schemas.openxmlformats.org/officeDocument/2006/relationships/slideLayout" Target="../slideLayouts/slideLayout96.xml"/><Relationship Id="rId9" Type="http://schemas.openxmlformats.org/officeDocument/2006/relationships/slideLayout" Target="../slideLayouts/slideLayout101.xml"/><Relationship Id="rId14" Type="http://schemas.openxmlformats.org/officeDocument/2006/relationships/oleObject" Target="../embeddings/oleObject2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1.xml"/><Relationship Id="rId3" Type="http://schemas.openxmlformats.org/officeDocument/2006/relationships/slideLayout" Target="../slideLayouts/slideLayout106.xml"/><Relationship Id="rId7" Type="http://schemas.openxmlformats.org/officeDocument/2006/relationships/slideLayout" Target="../slideLayouts/slideLayout110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105.xml"/><Relationship Id="rId1" Type="http://schemas.openxmlformats.org/officeDocument/2006/relationships/slideLayout" Target="../slideLayouts/slideLayout104.xml"/><Relationship Id="rId6" Type="http://schemas.openxmlformats.org/officeDocument/2006/relationships/slideLayout" Target="../slideLayouts/slideLayout109.xml"/><Relationship Id="rId11" Type="http://schemas.openxmlformats.org/officeDocument/2006/relationships/slideLayout" Target="../slideLayouts/slideLayout114.xml"/><Relationship Id="rId5" Type="http://schemas.openxmlformats.org/officeDocument/2006/relationships/slideLayout" Target="../slideLayouts/slideLayout108.xml"/><Relationship Id="rId10" Type="http://schemas.openxmlformats.org/officeDocument/2006/relationships/slideLayout" Target="../slideLayouts/slideLayout113.xml"/><Relationship Id="rId4" Type="http://schemas.openxmlformats.org/officeDocument/2006/relationships/slideLayout" Target="../slideLayouts/slideLayout107.xml"/><Relationship Id="rId9" Type="http://schemas.openxmlformats.org/officeDocument/2006/relationships/slideLayout" Target="../slideLayouts/slideLayout1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7"/>
          <p:cNvSpPr/>
          <p:nvPr/>
        </p:nvSpPr>
        <p:spPr>
          <a:xfrm>
            <a:off x="0" y="6400800"/>
            <a:ext cx="12192000" cy="45812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b="0" i="0">
              <a:solidFill>
                <a:schemeClr val="tx1"/>
              </a:solidFill>
              <a:latin typeface="HGPGothicE" charset="-128"/>
              <a:ea typeface="HGPGothicE" charset="-128"/>
            </a:endParaRPr>
          </a:p>
        </p:txBody>
      </p:sp>
      <p:pic>
        <p:nvPicPr>
          <p:cNvPr id="20" name="図 19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5581651"/>
            <a:ext cx="709083" cy="1276350"/>
          </a:xfrm>
          <a:prstGeom prst="rect">
            <a:avLst/>
          </a:prstGeom>
        </p:spPr>
      </p:pic>
      <p:sp>
        <p:nvSpPr>
          <p:cNvPr id="16" name="Footer Placeholder 1">
            <a:extLst>
              <a:ext uri="{FF2B5EF4-FFF2-40B4-BE49-F238E27FC236}">
                <a16:creationId xmlns:a16="http://schemas.microsoft.com/office/drawing/2014/main" id="{F1B08FBC-0754-4A22-9FF6-E1EB2B13AE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5F5690AF-F9D3-41D0-AF84-4591497DC2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92EA2340-BE12-4138-BE15-7C339B03EB4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D743AACC-E6A3-4545-99FC-8515D810C3F5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79238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3" r:id="rId2"/>
    <p:sldLayoutId id="2147483664" r:id="rId3"/>
  </p:sldLayoutIdLst>
  <p:hf hdr="0" dt="0"/>
  <p:txStyles>
    <p:titleStyle>
      <a:lvl1pPr algn="l" defTabSz="609555" rtl="0" eaLnBrk="1" fontAlgn="base" hangingPunct="1">
        <a:spcBef>
          <a:spcPct val="0"/>
        </a:spcBef>
        <a:spcAft>
          <a:spcPct val="0"/>
        </a:spcAft>
        <a:defRPr kumimoji="1" sz="2400" b="0" i="0" kern="1200" spc="200" baseline="0">
          <a:solidFill>
            <a:srgbClr val="404040"/>
          </a:solidFill>
          <a:latin typeface="HGPGothicE" charset="-128"/>
          <a:ea typeface="HGPGothicE" charset="-128"/>
          <a:cs typeface="HGPGothicE" charset="-128"/>
        </a:defRPr>
      </a:lvl1pPr>
      <a:lvl2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2pPr>
      <a:lvl3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3pPr>
      <a:lvl4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4pPr>
      <a:lvl5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5pPr>
      <a:lvl6pPr marL="609555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6pPr>
      <a:lvl7pPr marL="1219110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7pPr>
      <a:lvl8pPr marL="1828664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8pPr>
      <a:lvl9pPr marL="2438218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9pPr>
    </p:titleStyle>
    <p:bodyStyle>
      <a:lvl1pPr marL="226468" indent="-226468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10099" indent="-30054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454042" indent="-23493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3pPr>
      <a:lvl4pPr marL="2059363" indent="-230701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4pPr>
      <a:lvl5pPr marL="2666800" indent="-228584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5pPr>
      <a:lvl6pPr marL="335254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4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3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7"/>
          <p:cNvSpPr/>
          <p:nvPr/>
        </p:nvSpPr>
        <p:spPr>
          <a:xfrm>
            <a:off x="0" y="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b="0" i="0">
              <a:solidFill>
                <a:schemeClr val="tx1"/>
              </a:solidFill>
              <a:latin typeface="HGPGothicE" charset="-128"/>
              <a:ea typeface="HGPGothicE" charset="-128"/>
            </a:endParaRP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4DEE24DF-B91C-4576-BFF5-B02A5E2134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solidFill>
                  <a:schemeClr val="accent2"/>
                </a:solidFill>
              </a:defRPr>
            </a:lvl1pPr>
          </a:lstStyle>
          <a:p>
            <a:fld id="{92EA2340-BE12-4138-BE15-7C339B03EB4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065F47C-01F7-42CF-BA47-6ACD89130B1B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152956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35506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</p:sldLayoutIdLst>
  <p:hf hdr="0" dt="0"/>
  <p:txStyles>
    <p:titleStyle>
      <a:lvl1pPr marL="225425" indent="115888" algn="l" defTabSz="609555" rtl="0" eaLnBrk="1" fontAlgn="base" hangingPunct="1">
        <a:spcBef>
          <a:spcPct val="0"/>
        </a:spcBef>
        <a:spcAft>
          <a:spcPct val="0"/>
        </a:spcAft>
        <a:tabLst/>
        <a:defRPr kumimoji="1" lang="en-US" sz="2400" b="0" i="0" kern="1200" spc="0" baseline="0" smtClean="0">
          <a:solidFill>
            <a:schemeClr val="tx1"/>
          </a:solidFill>
          <a:latin typeface="+mj-ea"/>
          <a:ea typeface="+mj-ea"/>
          <a:cs typeface="Arial"/>
        </a:defRPr>
      </a:lvl1pPr>
      <a:lvl2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2pPr>
      <a:lvl3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3pPr>
      <a:lvl4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4pPr>
      <a:lvl5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5pPr>
      <a:lvl6pPr marL="609555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6pPr>
      <a:lvl7pPr marL="1219110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7pPr>
      <a:lvl8pPr marL="1828664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8pPr>
      <a:lvl9pPr marL="2438218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9pPr>
    </p:titleStyle>
    <p:bodyStyle>
      <a:lvl1pPr marL="226468" indent="-226468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10099" indent="-30054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454042" indent="-23493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3pPr>
      <a:lvl4pPr marL="2059363" indent="-230701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4pPr>
      <a:lvl5pPr marL="2666800" indent="-228584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5pPr>
      <a:lvl6pPr marL="335254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4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4032">
          <p15:clr>
            <a:srgbClr val="F26B43"/>
          </p15:clr>
        </p15:guide>
        <p15:guide id="3" orient="horz" pos="288">
          <p15:clr>
            <a:srgbClr val="F26B43"/>
          </p15:clr>
        </p15:guide>
        <p15:guide id="4" pos="7488">
          <p15:clr>
            <a:srgbClr val="F26B43"/>
          </p15:clr>
        </p15:guide>
        <p15:guide id="5" pos="19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7"/>
          <p:cNvSpPr/>
          <p:nvPr/>
        </p:nvSpPr>
        <p:spPr>
          <a:xfrm>
            <a:off x="0" y="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b="0" i="0">
              <a:solidFill>
                <a:schemeClr val="tx1"/>
              </a:solidFill>
              <a:latin typeface="HGPGothicE" charset="-128"/>
              <a:ea typeface="HGPGothicE" charset="-128"/>
            </a:endParaRP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4DEE24DF-B91C-4576-BFF5-B02A5E2134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solidFill>
                  <a:schemeClr val="accent2"/>
                </a:solidFill>
              </a:defRPr>
            </a:lvl1pPr>
          </a:lstStyle>
          <a:p>
            <a:fld id="{92EA2340-BE12-4138-BE15-7C339B03EB4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065F47C-01F7-42CF-BA47-6ACD89130B1B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152956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31460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</p:sldLayoutIdLst>
  <p:hf hdr="0" dt="0"/>
  <p:txStyles>
    <p:titleStyle>
      <a:lvl1pPr marL="225425" indent="115888" algn="l" defTabSz="609555" rtl="0" eaLnBrk="1" fontAlgn="base" hangingPunct="1">
        <a:spcBef>
          <a:spcPct val="0"/>
        </a:spcBef>
        <a:spcAft>
          <a:spcPct val="0"/>
        </a:spcAft>
        <a:tabLst/>
        <a:defRPr kumimoji="1" lang="en-US" sz="2400" b="0" i="0" kern="1200" spc="0" baseline="0" smtClean="0">
          <a:solidFill>
            <a:schemeClr val="tx1"/>
          </a:solidFill>
          <a:latin typeface="+mj-ea"/>
          <a:ea typeface="+mj-ea"/>
          <a:cs typeface="Arial"/>
        </a:defRPr>
      </a:lvl1pPr>
      <a:lvl2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2pPr>
      <a:lvl3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3pPr>
      <a:lvl4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4pPr>
      <a:lvl5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5pPr>
      <a:lvl6pPr marL="609555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6pPr>
      <a:lvl7pPr marL="1219110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7pPr>
      <a:lvl8pPr marL="1828664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8pPr>
      <a:lvl9pPr marL="2438218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9pPr>
    </p:titleStyle>
    <p:bodyStyle>
      <a:lvl1pPr marL="226468" indent="-226468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10099" indent="-30054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454042" indent="-23493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3pPr>
      <a:lvl4pPr marL="2059363" indent="-230701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4pPr>
      <a:lvl5pPr marL="2666800" indent="-228584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5pPr>
      <a:lvl6pPr marL="335254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4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4032">
          <p15:clr>
            <a:srgbClr val="F26B43"/>
          </p15:clr>
        </p15:guide>
        <p15:guide id="3" orient="horz" pos="288">
          <p15:clr>
            <a:srgbClr val="F26B43"/>
          </p15:clr>
        </p15:guide>
        <p15:guide id="4" pos="7488">
          <p15:clr>
            <a:srgbClr val="F26B43"/>
          </p15:clr>
        </p15:guide>
        <p15:guide id="5" pos="19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7"/>
          <p:cNvSpPr/>
          <p:nvPr/>
        </p:nvSpPr>
        <p:spPr>
          <a:xfrm>
            <a:off x="0" y="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b="0" i="0">
              <a:solidFill>
                <a:schemeClr val="tx1"/>
              </a:solidFill>
              <a:latin typeface="HGPGothicE" charset="-128"/>
              <a:ea typeface="HGPGothicE" charset="-128"/>
            </a:endParaRP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4DEE24DF-B91C-4576-BFF5-B02A5E2134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solidFill>
                  <a:schemeClr val="accent2"/>
                </a:solidFill>
              </a:defRPr>
            </a:lvl1pPr>
          </a:lstStyle>
          <a:p>
            <a:fld id="{92EA2340-BE12-4138-BE15-7C339B03EB4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065F47C-01F7-42CF-BA47-6ACD89130B1B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152956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55402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  <p:sldLayoutId id="2147483706" r:id="rId13"/>
    <p:sldLayoutId id="2147483707" r:id="rId14"/>
    <p:sldLayoutId id="2147483708" r:id="rId15"/>
    <p:sldLayoutId id="2147483709" r:id="rId16"/>
    <p:sldLayoutId id="2147483710" r:id="rId17"/>
    <p:sldLayoutId id="2147483711" r:id="rId18"/>
    <p:sldLayoutId id="2147483712" r:id="rId19"/>
    <p:sldLayoutId id="2147483713" r:id="rId20"/>
    <p:sldLayoutId id="2147483714" r:id="rId21"/>
    <p:sldLayoutId id="2147483715" r:id="rId22"/>
    <p:sldLayoutId id="2147483716" r:id="rId23"/>
    <p:sldLayoutId id="2147483717" r:id="rId24"/>
    <p:sldLayoutId id="2147483718" r:id="rId25"/>
    <p:sldLayoutId id="2147483719" r:id="rId26"/>
    <p:sldLayoutId id="2147483720" r:id="rId27"/>
    <p:sldLayoutId id="2147483721" r:id="rId28"/>
  </p:sldLayoutIdLst>
  <p:hf hdr="0" dt="0"/>
  <p:txStyles>
    <p:titleStyle>
      <a:lvl1pPr marL="225425" indent="115888" algn="l" defTabSz="609555" rtl="0" eaLnBrk="1" fontAlgn="base" hangingPunct="1">
        <a:spcBef>
          <a:spcPct val="0"/>
        </a:spcBef>
        <a:spcAft>
          <a:spcPct val="0"/>
        </a:spcAft>
        <a:tabLst/>
        <a:defRPr kumimoji="1" lang="en-US" sz="2400" b="0" i="0" kern="1200" spc="0" baseline="0" smtClean="0">
          <a:solidFill>
            <a:schemeClr val="tx1"/>
          </a:solidFill>
          <a:latin typeface="+mj-ea"/>
          <a:ea typeface="+mj-ea"/>
          <a:cs typeface="Arial"/>
        </a:defRPr>
      </a:lvl1pPr>
      <a:lvl2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2pPr>
      <a:lvl3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3pPr>
      <a:lvl4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4pPr>
      <a:lvl5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5pPr>
      <a:lvl6pPr marL="609555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6pPr>
      <a:lvl7pPr marL="1219110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7pPr>
      <a:lvl8pPr marL="1828664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8pPr>
      <a:lvl9pPr marL="2438218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9pPr>
    </p:titleStyle>
    <p:bodyStyle>
      <a:lvl1pPr marL="226468" indent="-226468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10099" indent="-30054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454042" indent="-23493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3pPr>
      <a:lvl4pPr marL="2059363" indent="-230701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4pPr>
      <a:lvl5pPr marL="2666800" indent="-228584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5pPr>
      <a:lvl6pPr marL="335254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4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4032">
          <p15:clr>
            <a:srgbClr val="F26B43"/>
          </p15:clr>
        </p15:guide>
        <p15:guide id="3" orient="horz" pos="288">
          <p15:clr>
            <a:srgbClr val="F26B43"/>
          </p15:clr>
        </p15:guide>
        <p15:guide id="4" pos="7488">
          <p15:clr>
            <a:srgbClr val="F26B43"/>
          </p15:clr>
        </p15:guide>
        <p15:guide id="5" pos="19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7"/>
          <p:cNvSpPr/>
          <p:nvPr/>
        </p:nvSpPr>
        <p:spPr>
          <a:xfrm>
            <a:off x="0" y="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b="0" i="0">
              <a:solidFill>
                <a:schemeClr val="tx1"/>
              </a:solidFill>
              <a:latin typeface="HGPGothicE" charset="-128"/>
              <a:ea typeface="HGPGothicE" charset="-128"/>
            </a:endParaRP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4DEE24DF-B91C-4576-BFF5-B02A5E2134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solidFill>
                  <a:schemeClr val="accent2"/>
                </a:solidFill>
              </a:defRPr>
            </a:lvl1pPr>
          </a:lstStyle>
          <a:p>
            <a:fld id="{92EA2340-BE12-4138-BE15-7C339B03EB4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065F47C-01F7-42CF-BA47-6ACD89130B1B}"/>
              </a:ext>
            </a:extLst>
          </p:cNvPr>
          <p:cNvSpPr>
            <a:spLocks noEditPoints="1"/>
          </p:cNvSpPr>
          <p:nvPr/>
        </p:nvSpPr>
        <p:spPr bwMode="auto">
          <a:xfrm>
            <a:off x="10853738" y="152956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64169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  <p:sldLayoutId id="2147483733" r:id="rId11"/>
  </p:sldLayoutIdLst>
  <p:hf hdr="0" dt="0"/>
  <p:txStyles>
    <p:titleStyle>
      <a:lvl1pPr marL="225425" indent="115888" algn="l" defTabSz="609555" rtl="0" eaLnBrk="1" fontAlgn="base" hangingPunct="1">
        <a:spcBef>
          <a:spcPct val="0"/>
        </a:spcBef>
        <a:spcAft>
          <a:spcPct val="0"/>
        </a:spcAft>
        <a:tabLst/>
        <a:defRPr kumimoji="1" lang="en-US" sz="2400" b="0" i="0" kern="1200" spc="0" baseline="0" smtClean="0">
          <a:solidFill>
            <a:schemeClr val="tx1"/>
          </a:solidFill>
          <a:latin typeface="+mj-ea"/>
          <a:ea typeface="+mj-ea"/>
          <a:cs typeface="Arial"/>
        </a:defRPr>
      </a:lvl1pPr>
      <a:lvl2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2pPr>
      <a:lvl3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3pPr>
      <a:lvl4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4pPr>
      <a:lvl5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5pPr>
      <a:lvl6pPr marL="609555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6pPr>
      <a:lvl7pPr marL="1219110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7pPr>
      <a:lvl8pPr marL="1828664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8pPr>
      <a:lvl9pPr marL="2438218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9pPr>
    </p:titleStyle>
    <p:bodyStyle>
      <a:lvl1pPr marL="226468" indent="-226468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10099" indent="-30054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454042" indent="-23493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3pPr>
      <a:lvl4pPr marL="2059363" indent="-230701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4pPr>
      <a:lvl5pPr marL="2666800" indent="-228584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5pPr>
      <a:lvl6pPr marL="335254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4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4032">
          <p15:clr>
            <a:srgbClr val="F26B43"/>
          </p15:clr>
        </p15:guide>
        <p15:guide id="3" orient="horz" pos="288">
          <p15:clr>
            <a:srgbClr val="F26B43"/>
          </p15:clr>
        </p15:guide>
        <p15:guide id="4" pos="7488">
          <p15:clr>
            <a:srgbClr val="F26B43"/>
          </p15:clr>
        </p15:guide>
        <p15:guide id="5" pos="192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7"/>
          <p:cNvSpPr/>
          <p:nvPr/>
        </p:nvSpPr>
        <p:spPr>
          <a:xfrm>
            <a:off x="0" y="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b="0" i="0">
              <a:solidFill>
                <a:schemeClr val="tx1"/>
              </a:solidFill>
              <a:latin typeface="HGPGothicE" charset="-128"/>
              <a:ea typeface="HGPGothicE" charset="-128"/>
            </a:endParaRP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4DEE24DF-B91C-4576-BFF5-B02A5E2134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solidFill>
                  <a:schemeClr val="accent2"/>
                </a:solidFill>
              </a:defRPr>
            </a:lvl1pPr>
          </a:lstStyle>
          <a:p>
            <a:fld id="{92EA2340-BE12-4138-BE15-7C339B03EB4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065F47C-01F7-42CF-BA47-6ACD89130B1B}"/>
              </a:ext>
            </a:extLst>
          </p:cNvPr>
          <p:cNvSpPr>
            <a:spLocks noEditPoints="1"/>
          </p:cNvSpPr>
          <p:nvPr/>
        </p:nvSpPr>
        <p:spPr bwMode="auto">
          <a:xfrm>
            <a:off x="10853738" y="152956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5641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2" r:id="rId8"/>
    <p:sldLayoutId id="2147483743" r:id="rId9"/>
    <p:sldLayoutId id="2147483744" r:id="rId10"/>
    <p:sldLayoutId id="2147483745" r:id="rId11"/>
  </p:sldLayoutIdLst>
  <p:hf hdr="0" dt="0"/>
  <p:txStyles>
    <p:titleStyle>
      <a:lvl1pPr marL="225425" indent="115888" algn="l" defTabSz="609555" rtl="0" eaLnBrk="1" fontAlgn="base" hangingPunct="1">
        <a:spcBef>
          <a:spcPct val="0"/>
        </a:spcBef>
        <a:spcAft>
          <a:spcPct val="0"/>
        </a:spcAft>
        <a:tabLst/>
        <a:defRPr kumimoji="1" lang="en-US" sz="2400" b="0" i="0" kern="1200" spc="0" baseline="0" smtClean="0">
          <a:solidFill>
            <a:schemeClr val="tx1"/>
          </a:solidFill>
          <a:latin typeface="+mj-ea"/>
          <a:ea typeface="+mj-ea"/>
          <a:cs typeface="Arial"/>
        </a:defRPr>
      </a:lvl1pPr>
      <a:lvl2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2pPr>
      <a:lvl3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3pPr>
      <a:lvl4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4pPr>
      <a:lvl5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5pPr>
      <a:lvl6pPr marL="609555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6pPr>
      <a:lvl7pPr marL="1219110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7pPr>
      <a:lvl8pPr marL="1828664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8pPr>
      <a:lvl9pPr marL="2438218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9pPr>
    </p:titleStyle>
    <p:bodyStyle>
      <a:lvl1pPr marL="226468" indent="-226468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10099" indent="-30054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454042" indent="-23493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3pPr>
      <a:lvl4pPr marL="2059363" indent="-230701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4pPr>
      <a:lvl5pPr marL="2666800" indent="-228584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5pPr>
      <a:lvl6pPr marL="335254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4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4032">
          <p15:clr>
            <a:srgbClr val="F26B43"/>
          </p15:clr>
        </p15:guide>
        <p15:guide id="3" orient="horz" pos="288">
          <p15:clr>
            <a:srgbClr val="F26B43"/>
          </p15:clr>
        </p15:guide>
        <p15:guide id="4" pos="7488">
          <p15:clr>
            <a:srgbClr val="F26B43"/>
          </p15:clr>
        </p15:guide>
        <p15:guide id="5" pos="192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7"/>
          <p:cNvSpPr/>
          <p:nvPr/>
        </p:nvSpPr>
        <p:spPr>
          <a:xfrm>
            <a:off x="0" y="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b="0" i="0">
              <a:solidFill>
                <a:schemeClr val="tx1"/>
              </a:solidFill>
              <a:latin typeface="HGPGothicE" charset="-128"/>
              <a:ea typeface="HGPGothicE" charset="-128"/>
            </a:endParaRP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4DEE24DF-B91C-4576-BFF5-B02A5E2134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solidFill>
                  <a:schemeClr val="accent2"/>
                </a:solidFill>
              </a:defRPr>
            </a:lvl1pPr>
          </a:lstStyle>
          <a:p>
            <a:fld id="{92EA2340-BE12-4138-BE15-7C339B03EB4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065F47C-01F7-42CF-BA47-6ACD89130B1B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152956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0071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  <p:sldLayoutId id="2147483751" r:id="rId5"/>
    <p:sldLayoutId id="2147483752" r:id="rId6"/>
    <p:sldLayoutId id="2147483753" r:id="rId7"/>
    <p:sldLayoutId id="2147483754" r:id="rId8"/>
    <p:sldLayoutId id="2147483755" r:id="rId9"/>
    <p:sldLayoutId id="2147483756" r:id="rId10"/>
    <p:sldLayoutId id="2147483757" r:id="rId11"/>
    <p:sldLayoutId id="2147483758" r:id="rId12"/>
    <p:sldLayoutId id="2147483759" r:id="rId13"/>
  </p:sldLayoutIdLst>
  <p:hf hdr="0" dt="0"/>
  <p:txStyles>
    <p:titleStyle>
      <a:lvl1pPr marL="225425" indent="115888" algn="l" defTabSz="609555" rtl="0" eaLnBrk="1" fontAlgn="base" hangingPunct="1">
        <a:spcBef>
          <a:spcPct val="0"/>
        </a:spcBef>
        <a:spcAft>
          <a:spcPct val="0"/>
        </a:spcAft>
        <a:tabLst/>
        <a:defRPr kumimoji="1" lang="en-US" sz="2400" b="0" i="0" kern="1200" spc="0" baseline="0" smtClean="0">
          <a:solidFill>
            <a:schemeClr val="tx1"/>
          </a:solidFill>
          <a:latin typeface="+mj-ea"/>
          <a:ea typeface="+mj-ea"/>
          <a:cs typeface="Arial"/>
        </a:defRPr>
      </a:lvl1pPr>
      <a:lvl2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2pPr>
      <a:lvl3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3pPr>
      <a:lvl4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4pPr>
      <a:lvl5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5pPr>
      <a:lvl6pPr marL="609555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6pPr>
      <a:lvl7pPr marL="1219110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7pPr>
      <a:lvl8pPr marL="1828664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8pPr>
      <a:lvl9pPr marL="2438218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9pPr>
    </p:titleStyle>
    <p:bodyStyle>
      <a:lvl1pPr marL="226468" indent="-226468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10099" indent="-30054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454042" indent="-23493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3pPr>
      <a:lvl4pPr marL="2059363" indent="-230701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4pPr>
      <a:lvl5pPr marL="2666800" indent="-228584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5pPr>
      <a:lvl6pPr marL="335254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4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4032">
          <p15:clr>
            <a:srgbClr val="F26B43"/>
          </p15:clr>
        </p15:guide>
        <p15:guide id="3" orient="horz" pos="288">
          <p15:clr>
            <a:srgbClr val="F26B43"/>
          </p15:clr>
        </p15:guide>
        <p15:guide id="4" pos="7488">
          <p15:clr>
            <a:srgbClr val="F26B43"/>
          </p15:clr>
        </p15:guide>
        <p15:guide id="5" pos="192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80DAC10-3826-47A2-8EC0-3FB98C79A4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9992408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20" imgH="420" progId="TCLayout.ActiveDocument.1">
                  <p:embed/>
                </p:oleObj>
              </mc:Choice>
              <mc:Fallback>
                <p:oleObj name="think-cell Slide" r:id="rId14" imgW="420" imgH="42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80DAC10-3826-47A2-8EC0-3FB98C79A4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17"/>
          <p:cNvSpPr/>
          <p:nvPr/>
        </p:nvSpPr>
        <p:spPr>
          <a:xfrm>
            <a:off x="0" y="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b="0" i="0">
              <a:solidFill>
                <a:schemeClr val="tx1"/>
              </a:solidFill>
              <a:latin typeface="HGPGothicE" charset="-128"/>
              <a:ea typeface="HGPGothicE" charset="-128"/>
            </a:endParaRP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4DEE24DF-B91C-4576-BFF5-B02A5E2134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solidFill>
                  <a:schemeClr val="accent2"/>
                </a:solidFill>
              </a:defRPr>
            </a:lvl1pPr>
          </a:lstStyle>
          <a:p>
            <a:fld id="{92EA2340-BE12-4138-BE15-7C339B03EB4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065F47C-01F7-42CF-BA47-6ACD89130B1B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152956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05712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  <p:sldLayoutId id="2147483766" r:id="rId6"/>
    <p:sldLayoutId id="2147483767" r:id="rId7"/>
    <p:sldLayoutId id="2147483768" r:id="rId8"/>
    <p:sldLayoutId id="2147483769" r:id="rId9"/>
    <p:sldLayoutId id="2147483770" r:id="rId10"/>
    <p:sldLayoutId id="2147483771" r:id="rId11"/>
  </p:sldLayoutIdLst>
  <p:hf hdr="0" dt="0"/>
  <p:txStyles>
    <p:titleStyle>
      <a:lvl1pPr marL="225425" indent="115888" algn="l" defTabSz="609555" rtl="0" eaLnBrk="1" fontAlgn="base" hangingPunct="1">
        <a:spcBef>
          <a:spcPct val="0"/>
        </a:spcBef>
        <a:spcAft>
          <a:spcPct val="0"/>
        </a:spcAft>
        <a:tabLst/>
        <a:defRPr kumimoji="1" lang="en-US" sz="2400" b="0" i="0" kern="1200" spc="0" baseline="0" smtClean="0">
          <a:solidFill>
            <a:schemeClr val="tx1"/>
          </a:solidFill>
          <a:latin typeface="+mj-ea"/>
          <a:ea typeface="+mj-ea"/>
          <a:cs typeface="Arial"/>
        </a:defRPr>
      </a:lvl1pPr>
      <a:lvl2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2pPr>
      <a:lvl3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3pPr>
      <a:lvl4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4pPr>
      <a:lvl5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5pPr>
      <a:lvl6pPr marL="609555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6pPr>
      <a:lvl7pPr marL="1219110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7pPr>
      <a:lvl8pPr marL="1828664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8pPr>
      <a:lvl9pPr marL="2438218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9pPr>
    </p:titleStyle>
    <p:bodyStyle>
      <a:lvl1pPr marL="226468" indent="-226468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10099" indent="-30054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454042" indent="-23493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3pPr>
      <a:lvl4pPr marL="2059363" indent="-230701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4pPr>
      <a:lvl5pPr marL="2666800" indent="-228584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5pPr>
      <a:lvl6pPr marL="335254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4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4032">
          <p15:clr>
            <a:srgbClr val="F26B43"/>
          </p15:clr>
        </p15:guide>
        <p15:guide id="3" orient="horz" pos="288">
          <p15:clr>
            <a:srgbClr val="F26B43"/>
          </p15:clr>
        </p15:guide>
        <p15:guide id="4" pos="7488">
          <p15:clr>
            <a:srgbClr val="F26B43"/>
          </p15:clr>
        </p15:guide>
        <p15:guide id="5" pos="192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7"/>
          <p:cNvSpPr/>
          <p:nvPr/>
        </p:nvSpPr>
        <p:spPr>
          <a:xfrm>
            <a:off x="0" y="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b="0" i="0" dirty="0">
              <a:solidFill>
                <a:schemeClr val="tx1"/>
              </a:solidFill>
              <a:latin typeface="HGPGothicE" charset="-128"/>
              <a:ea typeface="HGPGothicE" charset="-128"/>
            </a:endParaRP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4DEE24DF-B91C-4576-BFF5-B02A5E2134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solidFill>
                  <a:schemeClr val="accent2"/>
                </a:solidFill>
              </a:defRPr>
            </a:lvl1pPr>
          </a:lstStyle>
          <a:p>
            <a:fld id="{92EA2340-BE12-4138-BE15-7C339B03EB4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065F47C-01F7-42CF-BA47-6ACD89130B1B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152956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01378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  <p:sldLayoutId id="2147483781" r:id="rId9"/>
    <p:sldLayoutId id="2147483782" r:id="rId10"/>
    <p:sldLayoutId id="2147483783" r:id="rId11"/>
  </p:sldLayoutIdLst>
  <p:hf hdr="0" dt="0"/>
  <p:txStyles>
    <p:titleStyle>
      <a:lvl1pPr marL="225425" indent="115888" algn="l" defTabSz="609555" rtl="0" eaLnBrk="1" fontAlgn="base" hangingPunct="1">
        <a:spcBef>
          <a:spcPct val="0"/>
        </a:spcBef>
        <a:spcAft>
          <a:spcPct val="0"/>
        </a:spcAft>
        <a:tabLst/>
        <a:defRPr kumimoji="1" lang="en-US" sz="2400" b="0" i="0" kern="1200" spc="0" baseline="0" smtClean="0">
          <a:solidFill>
            <a:schemeClr val="tx1"/>
          </a:solidFill>
          <a:latin typeface="+mj-ea"/>
          <a:ea typeface="+mj-ea"/>
          <a:cs typeface="Arial"/>
        </a:defRPr>
      </a:lvl1pPr>
      <a:lvl2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2pPr>
      <a:lvl3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3pPr>
      <a:lvl4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4pPr>
      <a:lvl5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5pPr>
      <a:lvl6pPr marL="609555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6pPr>
      <a:lvl7pPr marL="1219110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7pPr>
      <a:lvl8pPr marL="1828664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8pPr>
      <a:lvl9pPr marL="2438218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9pPr>
    </p:titleStyle>
    <p:bodyStyle>
      <a:lvl1pPr marL="226468" indent="-226468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10099" indent="-30054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454042" indent="-23493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3pPr>
      <a:lvl4pPr marL="2059363" indent="-230701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4pPr>
      <a:lvl5pPr marL="2666800" indent="-228584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5pPr>
      <a:lvl6pPr marL="335254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4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4032">
          <p15:clr>
            <a:srgbClr val="F26B43"/>
          </p15:clr>
        </p15:guide>
        <p15:guide id="3" orient="horz" pos="288">
          <p15:clr>
            <a:srgbClr val="F26B43"/>
          </p15:clr>
        </p15:guide>
        <p15:guide id="4" pos="7488">
          <p15:clr>
            <a:srgbClr val="F26B43"/>
          </p15:clr>
        </p15:guide>
        <p15:guide id="5" pos="19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" Target="slide19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easyretro.io/publicboard/K4TJLfaixtZPhOqz3R0NH6xarN12/94132534-22e6-4fec-b883-5439a2bfd9e8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29.png"/><Relationship Id="rId4" Type="http://schemas.openxmlformats.org/officeDocument/2006/relationships/hyperlink" Target="https://github.com/mitchellciupak/spotify-playlist-with-terraform-brownbag#contributing-rules" TargetMode="Externa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" TargetMode="External"/><Relationship Id="rId2" Type="http://schemas.openxmlformats.org/officeDocument/2006/relationships/hyperlink" Target="https://github.com/mitchellciupak/spotify-playlist-with-terraform-brownbag/blob/main/presentation/IaC_brownbag_CreateAGitHubAccount.pdf" TargetMode="External"/><Relationship Id="rId1" Type="http://schemas.openxmlformats.org/officeDocument/2006/relationships/slideLayout" Target="../slideLayouts/slideLayout15.xml"/><Relationship Id="rId4" Type="http://schemas.openxmlformats.org/officeDocument/2006/relationships/hyperlink" Target="https://github.com/mitchellciupak/spotify-playlist-with-terraform-brownbag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8.xml"/><Relationship Id="rId4" Type="http://schemas.openxmlformats.org/officeDocument/2006/relationships/hyperlink" Target="https://github.com/mitchellciupak/spotify-playlist-with-terraform-brownbag/blob/main/main.tf" TargetMode="Externa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8.xml"/><Relationship Id="rId4" Type="http://schemas.openxmlformats.org/officeDocument/2006/relationships/hyperlink" Target="https://github.com/mitchellciupak/spotify-playlist-with-terraform-brownbag/blob/main/main.tf" TargetMode="Externa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3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8.xml"/><Relationship Id="rId4" Type="http://schemas.openxmlformats.org/officeDocument/2006/relationships/hyperlink" Target="https://github.com/mitchellciupak/spotify-playlist-with-terraform-brownbag/blob/main/main.tf" TargetMode="Externa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67E2735-4FE2-413B-B43D-A4A2D714D306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3575999" y="5839504"/>
            <a:ext cx="6177601" cy="1011600"/>
          </a:xfrm>
        </p:spPr>
        <p:txBody>
          <a:bodyPr/>
          <a:lstStyle/>
          <a:p>
            <a:r>
              <a:rPr lang="en-US" dirty="0"/>
              <a:t>07/25/2022</a:t>
            </a:r>
          </a:p>
          <a:p>
            <a:r>
              <a:rPr lang="en-US" dirty="0"/>
              <a:t>Nashville Innovation and Delivery Center (NIDC)</a:t>
            </a:r>
          </a:p>
          <a:p>
            <a:r>
              <a:rPr lang="en-US" dirty="0"/>
              <a:t>Mitchell Ciupak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4DCE7A3-4640-4E0C-ADDB-EF4DEAD841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274320" bIns="45720" anchor="ctr">
            <a:normAutofit/>
          </a:bodyPr>
          <a:lstStyle/>
          <a:p>
            <a:r>
              <a:rPr lang="en-US" sz="2000" dirty="0"/>
              <a:t>What is Infrastructure as Code? An Introduction &amp; Live Workshop</a:t>
            </a:r>
            <a:endParaRPr lang="en-US" dirty="0">
              <a:ea typeface="HGPGothicE"/>
            </a:endParaRPr>
          </a:p>
        </p:txBody>
      </p:sp>
    </p:spTree>
    <p:extLst>
      <p:ext uri="{BB962C8B-B14F-4D97-AF65-F5344CB8AC3E}">
        <p14:creationId xmlns:p14="http://schemas.microsoft.com/office/powerpoint/2010/main" val="24353265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Box 36">
            <a:extLst>
              <a:ext uri="{FF2B5EF4-FFF2-40B4-BE49-F238E27FC236}">
                <a16:creationId xmlns:a16="http://schemas.microsoft.com/office/drawing/2014/main" id="{E8163054-9129-290F-6F1E-2907B1B9A076}"/>
              </a:ext>
            </a:extLst>
          </p:cNvPr>
          <p:cNvSpPr txBox="1"/>
          <p:nvPr/>
        </p:nvSpPr>
        <p:spPr>
          <a:xfrm>
            <a:off x="304800" y="1192284"/>
            <a:ext cx="11582400" cy="5025636"/>
          </a:xfrm>
          <a:prstGeom prst="rect">
            <a:avLst/>
          </a:prstGeom>
        </p:spPr>
        <p:txBody>
          <a:bodyPr lIns="0" rIns="0">
            <a:normAutofit/>
          </a:bodyPr>
          <a:lstStyle/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kumimoji="1" lang="en-US" sz="2000" b="1" dirty="0"/>
              <a:t>Creating a Spotify Playlist with Terraform</a:t>
            </a:r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endParaRPr kumimoji="1" lang="en-US" sz="20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2333C1-AD04-4A4C-9178-371790B099D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</p:spPr>
        <p:txBody>
          <a:bodyPr anchor="ctr">
            <a:normAutofit/>
          </a:bodyPr>
          <a:lstStyle/>
          <a:p>
            <a:pPr marR="0" lvl="0" indent="0" defTabSz="60955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© 2022 NTT DATA, Inc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04545E-01B5-44C2-991B-26421B7BC13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</p:spPr>
        <p:txBody>
          <a:bodyPr anchor="ctr">
            <a:normAutofit/>
          </a:bodyPr>
          <a:lstStyle/>
          <a:p>
            <a:pPr marR="0" lvl="0" indent="0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92EA2340-BE12-4138-BE15-7C339B03EB4B}" type="slidenum">
              <a:rPr kumimoji="0" lang="en-US" sz="600" b="0" i="0" u="none" strike="noStrike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R="0" lvl="0" indent="0" fontAlgn="auto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600" b="0" i="0" u="none" strike="noStrike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4C23B41-7089-4A60-B8D2-E668F4E1162C}"/>
              </a:ext>
            </a:extLst>
          </p:cNvPr>
          <p:cNvSpPr txBox="1"/>
          <p:nvPr/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rtlCol="0" anchor="t" anchorCtr="0">
            <a:normAutofit/>
          </a:bodyPr>
          <a:lstStyle/>
          <a:p>
            <a:pPr marR="0" lvl="0" defTabSz="609555" fontAlgn="base" latinLnBrk="0"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r>
              <a:rPr kumimoji="1" lang="en-US" sz="2400" dirty="0">
                <a:latin typeface="+mj-ea"/>
                <a:ea typeface="+mj-ea"/>
                <a:cs typeface="Arial"/>
              </a:rPr>
              <a:t>Let’s all get on the same page and workshop demo. What are we doing?</a:t>
            </a:r>
            <a:endParaRPr kumimoji="1" lang="en-US" sz="2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ea"/>
              <a:ea typeface="+mj-ea"/>
              <a:cs typeface="Arial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BC4561D-D78E-AE30-03B0-5EEF599093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6235" y="1666134"/>
            <a:ext cx="11079530" cy="4859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4763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Box 36">
            <a:extLst>
              <a:ext uri="{FF2B5EF4-FFF2-40B4-BE49-F238E27FC236}">
                <a16:creationId xmlns:a16="http://schemas.microsoft.com/office/drawing/2014/main" id="{E8163054-9129-290F-6F1E-2907B1B9A076}"/>
              </a:ext>
            </a:extLst>
          </p:cNvPr>
          <p:cNvSpPr txBox="1"/>
          <p:nvPr/>
        </p:nvSpPr>
        <p:spPr>
          <a:xfrm>
            <a:off x="304800" y="1192284"/>
            <a:ext cx="11582400" cy="5025636"/>
          </a:xfrm>
          <a:prstGeom prst="rect">
            <a:avLst/>
          </a:prstGeom>
        </p:spPr>
        <p:txBody>
          <a:bodyPr lIns="0" rIns="0">
            <a:normAutofit/>
          </a:bodyPr>
          <a:lstStyle/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kumimoji="1" lang="en-US" sz="2000" b="1" dirty="0"/>
              <a:t>Writing Some Terraform Code (HCL) to Specify Tracks in a Playlist</a:t>
            </a:r>
            <a:endParaRPr kumimoji="1" lang="en-US" sz="20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2333C1-AD04-4A4C-9178-371790B099D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</p:spPr>
        <p:txBody>
          <a:bodyPr anchor="ctr">
            <a:normAutofit/>
          </a:bodyPr>
          <a:lstStyle/>
          <a:p>
            <a:pPr marR="0" lvl="0" indent="0" defTabSz="60955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© 2022 NTT DATA, Inc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04545E-01B5-44C2-991B-26421B7BC13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</p:spPr>
        <p:txBody>
          <a:bodyPr anchor="ctr">
            <a:normAutofit/>
          </a:bodyPr>
          <a:lstStyle/>
          <a:p>
            <a:pPr marR="0" lvl="0" indent="0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92EA2340-BE12-4138-BE15-7C339B03EB4B}" type="slidenum">
              <a:rPr kumimoji="0" lang="en-US" sz="600" b="0" i="0" u="none" strike="noStrike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R="0" lvl="0" indent="0" fontAlgn="auto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600" b="0" i="0" u="none" strike="noStrike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4C23B41-7089-4A60-B8D2-E668F4E1162C}"/>
              </a:ext>
            </a:extLst>
          </p:cNvPr>
          <p:cNvSpPr txBox="1"/>
          <p:nvPr/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rtlCol="0" anchor="t" anchorCtr="0">
            <a:normAutofit/>
          </a:bodyPr>
          <a:lstStyle/>
          <a:p>
            <a:pPr marR="0" lvl="0" defTabSz="609555" fontAlgn="base" latinLnBrk="0"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r>
              <a:rPr kumimoji="1" lang="en-US" sz="2400" dirty="0">
                <a:latin typeface="+mj-ea"/>
                <a:ea typeface="+mj-ea"/>
                <a:cs typeface="Arial"/>
              </a:rPr>
              <a:t>Let’s all get on the same page and workshop demo. What are we doing?</a:t>
            </a:r>
            <a:endParaRPr kumimoji="1" lang="en-US" sz="2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ea"/>
              <a:ea typeface="+mj-ea"/>
              <a:cs typeface="Arial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BDAF1B7-ECA1-C2EE-1887-048F4D78C93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41525"/>
          <a:stretch/>
        </p:blipFill>
        <p:spPr>
          <a:xfrm>
            <a:off x="6671627" y="2992180"/>
            <a:ext cx="4305626" cy="267353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4D96AB2-BF8B-575A-ECAE-33CF6668059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71626" y="1947216"/>
            <a:ext cx="4305627" cy="98552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222A216-29A9-08E3-C6DD-F3BF8A0919E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91983" y="1947217"/>
            <a:ext cx="4612216" cy="3718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11147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Box 36">
            <a:extLst>
              <a:ext uri="{FF2B5EF4-FFF2-40B4-BE49-F238E27FC236}">
                <a16:creationId xmlns:a16="http://schemas.microsoft.com/office/drawing/2014/main" id="{E8163054-9129-290F-6F1E-2907B1B9A076}"/>
              </a:ext>
            </a:extLst>
          </p:cNvPr>
          <p:cNvSpPr txBox="1"/>
          <p:nvPr/>
        </p:nvSpPr>
        <p:spPr>
          <a:xfrm>
            <a:off x="304800" y="1192284"/>
            <a:ext cx="11582400" cy="5025636"/>
          </a:xfrm>
          <a:prstGeom prst="rect">
            <a:avLst/>
          </a:prstGeom>
        </p:spPr>
        <p:txBody>
          <a:bodyPr lIns="0" rIns="0">
            <a:normAutofit/>
          </a:bodyPr>
          <a:lstStyle/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kumimoji="1" lang="en-US" sz="2000" b="1" dirty="0"/>
              <a:t>Authenticating with Spotify via a Docker Container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2333C1-AD04-4A4C-9178-371790B099D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</p:spPr>
        <p:txBody>
          <a:bodyPr anchor="ctr">
            <a:normAutofit/>
          </a:bodyPr>
          <a:lstStyle/>
          <a:p>
            <a:pPr marR="0" lvl="0" indent="0" defTabSz="60955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© 2022 NTT DATA, Inc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04545E-01B5-44C2-991B-26421B7BC13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</p:spPr>
        <p:txBody>
          <a:bodyPr anchor="ctr">
            <a:normAutofit/>
          </a:bodyPr>
          <a:lstStyle/>
          <a:p>
            <a:pPr marR="0" lvl="0" indent="0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92EA2340-BE12-4138-BE15-7C339B03EB4B}" type="slidenum">
              <a:rPr kumimoji="0" lang="en-US" sz="600" b="0" i="0" u="none" strike="noStrike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R="0" lvl="0" indent="0" fontAlgn="auto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600" b="0" i="0" u="none" strike="noStrike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4C23B41-7089-4A60-B8D2-E668F4E1162C}"/>
              </a:ext>
            </a:extLst>
          </p:cNvPr>
          <p:cNvSpPr txBox="1"/>
          <p:nvPr/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rtlCol="0" anchor="t" anchorCtr="0">
            <a:normAutofit/>
          </a:bodyPr>
          <a:lstStyle/>
          <a:p>
            <a:pPr marR="0" lvl="0" defTabSz="609555" fontAlgn="base" latinLnBrk="0"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r>
              <a:rPr kumimoji="1" lang="en-US" sz="2400" dirty="0">
                <a:latin typeface="+mj-ea"/>
                <a:ea typeface="+mj-ea"/>
                <a:cs typeface="Arial"/>
              </a:rPr>
              <a:t>Let’s all get on the same page and workshop demo. What are we doing?</a:t>
            </a:r>
            <a:endParaRPr kumimoji="1" lang="en-US" sz="2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ea"/>
              <a:ea typeface="+mj-ea"/>
              <a:cs typeface="Arial"/>
            </a:endParaRPr>
          </a:p>
        </p:txBody>
      </p:sp>
      <p:pic>
        <p:nvPicPr>
          <p:cNvPr id="1026" name="Picture 2" descr="Diagram of the authorization flow through the Spotify authorization&#10;proxy">
            <a:extLst>
              <a:ext uri="{FF2B5EF4-FFF2-40B4-BE49-F238E27FC236}">
                <a16:creationId xmlns:a16="http://schemas.microsoft.com/office/drawing/2014/main" id="{AD1BD6DE-061F-B436-B9CC-9C67D48CA6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6584" y="2158705"/>
            <a:ext cx="7258829" cy="2540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7846254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Box 36">
            <a:extLst>
              <a:ext uri="{FF2B5EF4-FFF2-40B4-BE49-F238E27FC236}">
                <a16:creationId xmlns:a16="http://schemas.microsoft.com/office/drawing/2014/main" id="{E8163054-9129-290F-6F1E-2907B1B9A076}"/>
              </a:ext>
            </a:extLst>
          </p:cNvPr>
          <p:cNvSpPr txBox="1"/>
          <p:nvPr/>
        </p:nvSpPr>
        <p:spPr>
          <a:xfrm>
            <a:off x="304800" y="1192284"/>
            <a:ext cx="11582400" cy="5025636"/>
          </a:xfrm>
          <a:prstGeom prst="rect">
            <a:avLst/>
          </a:prstGeom>
        </p:spPr>
        <p:txBody>
          <a:bodyPr lIns="0" rIns="0">
            <a:normAutofit/>
          </a:bodyPr>
          <a:lstStyle/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kumimoji="1" lang="en-US" sz="2000" b="1" dirty="0"/>
              <a:t>Deploying our playlist with IaC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2333C1-AD04-4A4C-9178-371790B099D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</p:spPr>
        <p:txBody>
          <a:bodyPr anchor="ctr">
            <a:normAutofit/>
          </a:bodyPr>
          <a:lstStyle/>
          <a:p>
            <a:pPr marR="0" lvl="0" indent="0" defTabSz="60955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© 2022 NTT DATA, Inc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04545E-01B5-44C2-991B-26421B7BC13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</p:spPr>
        <p:txBody>
          <a:bodyPr anchor="ctr">
            <a:normAutofit/>
          </a:bodyPr>
          <a:lstStyle/>
          <a:p>
            <a:pPr marR="0" lvl="0" indent="0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92EA2340-BE12-4138-BE15-7C339B03EB4B}" type="slidenum">
              <a:rPr kumimoji="0" lang="en-US" sz="600" b="0" i="0" u="none" strike="noStrike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R="0" lvl="0" indent="0" fontAlgn="auto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600" b="0" i="0" u="none" strike="noStrike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4C23B41-7089-4A60-B8D2-E668F4E1162C}"/>
              </a:ext>
            </a:extLst>
          </p:cNvPr>
          <p:cNvSpPr txBox="1"/>
          <p:nvPr/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rtlCol="0" anchor="t" anchorCtr="0">
            <a:normAutofit/>
          </a:bodyPr>
          <a:lstStyle/>
          <a:p>
            <a:pPr marR="0" lvl="0" defTabSz="609555" fontAlgn="base" latinLnBrk="0"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r>
              <a:rPr kumimoji="1" lang="en-US" sz="2400" dirty="0">
                <a:latin typeface="+mj-ea"/>
                <a:ea typeface="+mj-ea"/>
                <a:cs typeface="Arial"/>
              </a:rPr>
              <a:t>Let’s all get on the same page and workshop demo. What are we doing?</a:t>
            </a:r>
            <a:endParaRPr kumimoji="1" lang="en-US" sz="2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ea"/>
              <a:ea typeface="+mj-ea"/>
              <a:cs typeface="Arial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A2902B6-708C-9693-3965-FEBCCB05337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92961" y="1667933"/>
            <a:ext cx="6006076" cy="4615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753888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Box 36">
            <a:extLst>
              <a:ext uri="{FF2B5EF4-FFF2-40B4-BE49-F238E27FC236}">
                <a16:creationId xmlns:a16="http://schemas.microsoft.com/office/drawing/2014/main" id="{E8163054-9129-290F-6F1E-2907B1B9A076}"/>
              </a:ext>
            </a:extLst>
          </p:cNvPr>
          <p:cNvSpPr txBox="1"/>
          <p:nvPr/>
        </p:nvSpPr>
        <p:spPr>
          <a:xfrm>
            <a:off x="304800" y="1447800"/>
            <a:ext cx="11582400" cy="4770120"/>
          </a:xfrm>
          <a:prstGeom prst="rect">
            <a:avLst/>
          </a:prstGeom>
        </p:spPr>
        <p:txBody>
          <a:bodyPr lIns="0" rIns="0" anchor="ctr">
            <a:normAutofit/>
          </a:bodyPr>
          <a:lstStyle/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kumimoji="1" lang="en-US" sz="2000" dirty="0"/>
              <a:t>Step 1: Create a GitHub Account</a:t>
            </a:r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kumimoji="1" lang="en-US" sz="2000" dirty="0"/>
              <a:t>Step 2: Find The Project Repository</a:t>
            </a:r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kumimoji="1" lang="en-US" sz="2000" b="1" dirty="0"/>
              <a:t>Step 3: Fork and Being to Add Your Song as Code to ./main.tf</a:t>
            </a:r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kumimoji="1" lang="en-US" sz="2000" b="1" dirty="0"/>
              <a:t>Step 4: Create a Pull Request (PR) to Merge Your Code back into the Project</a:t>
            </a:r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kumimoji="1" lang="en-US" sz="2000" dirty="0"/>
              <a:t>Step 5: Merge the Pull Request</a:t>
            </a:r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kumimoji="1" lang="en-US" sz="2000" dirty="0"/>
              <a:t>Step 6: Deploy!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endParaRPr kumimoji="1" lang="en-US" sz="2000" dirty="0"/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kumimoji="1" lang="en-US" sz="2000" dirty="0"/>
              <a:t>A Detailed List of Steps 1-4 is in the </a:t>
            </a:r>
            <a:r>
              <a:rPr kumimoji="1" lang="en-US" sz="2000" dirty="0">
                <a:hlinkClick r:id="rId3" action="ppaction://hlinksldjump"/>
              </a:rPr>
              <a:t>Appendix</a:t>
            </a:r>
            <a:endParaRPr kumimoji="1" lang="en-US" sz="2000" dirty="0"/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endParaRPr kumimoji="1" lang="en-US" sz="20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2333C1-AD04-4A4C-9178-371790B099D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</p:spPr>
        <p:txBody>
          <a:bodyPr anchor="ctr">
            <a:normAutofit/>
          </a:bodyPr>
          <a:lstStyle/>
          <a:p>
            <a:pPr marR="0" lvl="0" indent="0" defTabSz="60955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© 2022 NTT DATA, Inc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04545E-01B5-44C2-991B-26421B7BC13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</p:spPr>
        <p:txBody>
          <a:bodyPr anchor="ctr">
            <a:normAutofit/>
          </a:bodyPr>
          <a:lstStyle/>
          <a:p>
            <a:pPr marR="0" lvl="0" indent="0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92EA2340-BE12-4138-BE15-7C339B03EB4B}" type="slidenum">
              <a:rPr kumimoji="0" lang="en-US" sz="600" b="0" i="0" u="none" strike="noStrike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R="0" lvl="0" indent="0" fontAlgn="auto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600" b="0" i="0" u="none" strike="noStrike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4C23B41-7089-4A60-B8D2-E668F4E1162C}"/>
              </a:ext>
            </a:extLst>
          </p:cNvPr>
          <p:cNvSpPr txBox="1"/>
          <p:nvPr/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rtlCol="0" anchor="t" anchorCtr="0">
            <a:normAutofit/>
          </a:bodyPr>
          <a:lstStyle/>
          <a:p>
            <a:pPr marR="0" lvl="0" defTabSz="609555" fontAlgn="base" latinLnBrk="0"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r>
              <a:rPr kumimoji="1" lang="en-US" sz="2400" dirty="0">
                <a:latin typeface="+mj-ea"/>
                <a:ea typeface="+mj-ea"/>
                <a:cs typeface="Arial"/>
              </a:rPr>
              <a:t>Let’s talk about how to make a PR</a:t>
            </a:r>
          </a:p>
          <a:p>
            <a:pPr marR="0" lvl="0" defTabSz="609555" fontAlgn="base" latinLnBrk="0"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endParaRPr kumimoji="1" lang="en-US" sz="2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ea"/>
              <a:ea typeface="+mj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661921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Blank Caution Sign | Caution Safety Signs | OSHA Caution Signs">
            <a:extLst>
              <a:ext uri="{FF2B5EF4-FFF2-40B4-BE49-F238E27FC236}">
                <a16:creationId xmlns:a16="http://schemas.microsoft.com/office/drawing/2014/main" id="{4C7E129D-C72C-8EA8-B4EC-1BF3BE6204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6302" y="2090057"/>
            <a:ext cx="3997096" cy="28139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E8163054-9129-290F-6F1E-2907B1B9A076}"/>
              </a:ext>
            </a:extLst>
          </p:cNvPr>
          <p:cNvSpPr txBox="1"/>
          <p:nvPr/>
        </p:nvSpPr>
        <p:spPr>
          <a:xfrm>
            <a:off x="304800" y="1447800"/>
            <a:ext cx="11582400" cy="4770120"/>
          </a:xfrm>
          <a:prstGeom prst="rect">
            <a:avLst/>
          </a:prstGeom>
        </p:spPr>
        <p:txBody>
          <a:bodyPr lIns="0" rIns="0" anchor="ctr">
            <a:normAutofit/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kumimoji="1" lang="en-US" sz="2000" b="1" dirty="0"/>
              <a:t>Live Demo</a:t>
            </a:r>
            <a:endParaRPr kumimoji="1" lang="en-US" sz="20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2333C1-AD04-4A4C-9178-371790B099D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</p:spPr>
        <p:txBody>
          <a:bodyPr anchor="ctr">
            <a:normAutofit/>
          </a:bodyPr>
          <a:lstStyle/>
          <a:p>
            <a:pPr marR="0" lvl="0" indent="0" defTabSz="60955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© 2022 NTT DATA, Inc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04545E-01B5-44C2-991B-26421B7BC13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</p:spPr>
        <p:txBody>
          <a:bodyPr anchor="ctr">
            <a:normAutofit/>
          </a:bodyPr>
          <a:lstStyle/>
          <a:p>
            <a:pPr marR="0" lvl="0" indent="0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92EA2340-BE12-4138-BE15-7C339B03EB4B}" type="slidenum">
              <a:rPr kumimoji="0" lang="en-US" sz="600" b="0" i="0" u="none" strike="noStrike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R="0" lvl="0" indent="0" fontAlgn="auto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600" b="0" i="0" u="none" strike="noStrike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4C23B41-7089-4A60-B8D2-E668F4E1162C}"/>
              </a:ext>
            </a:extLst>
          </p:cNvPr>
          <p:cNvSpPr txBox="1"/>
          <p:nvPr/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rtlCol="0" anchor="t" anchorCtr="0">
            <a:normAutofit/>
          </a:bodyPr>
          <a:lstStyle/>
          <a:p>
            <a:pPr marR="0" lvl="0" defTabSz="609555" fontAlgn="base" latinLnBrk="0"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r>
              <a:rPr kumimoji="1" lang="en-US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ea"/>
                <a:ea typeface="+mj-ea"/>
                <a:cs typeface="Arial"/>
              </a:rPr>
              <a:t>Example of what to do</a:t>
            </a:r>
          </a:p>
        </p:txBody>
      </p:sp>
    </p:spTree>
    <p:extLst>
      <p:ext uri="{BB962C8B-B14F-4D97-AF65-F5344CB8AC3E}">
        <p14:creationId xmlns:p14="http://schemas.microsoft.com/office/powerpoint/2010/main" val="124594151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Box 36">
            <a:extLst>
              <a:ext uri="{FF2B5EF4-FFF2-40B4-BE49-F238E27FC236}">
                <a16:creationId xmlns:a16="http://schemas.microsoft.com/office/drawing/2014/main" id="{E8163054-9129-290F-6F1E-2907B1B9A076}"/>
              </a:ext>
            </a:extLst>
          </p:cNvPr>
          <p:cNvSpPr txBox="1"/>
          <p:nvPr/>
        </p:nvSpPr>
        <p:spPr>
          <a:xfrm>
            <a:off x="304800" y="1192284"/>
            <a:ext cx="11582400" cy="5025636"/>
          </a:xfrm>
          <a:prstGeom prst="rect">
            <a:avLst/>
          </a:prstGeom>
        </p:spPr>
        <p:txBody>
          <a:bodyPr lIns="0" rIns="0">
            <a:normAutofit fontScale="85000" lnSpcReduction="20000"/>
          </a:bodyPr>
          <a:lstStyle/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kumimoji="1" lang="en-US" sz="2000" b="1" dirty="0"/>
              <a:t>Start By Selecting a Song from The Board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Link to Scrum Board: </a:t>
            </a:r>
            <a:r>
              <a:rPr kumimoji="1" lang="en-US" sz="2000" dirty="0">
                <a:hlinkClick r:id="rId3"/>
              </a:rPr>
              <a:t>https://easyretro.io/publicboard/K4TJLfaixtZPhOqz3R0NH6xarN12/94132534-22e6-4fec-b883-5439a2bfd9e8</a:t>
            </a:r>
            <a:r>
              <a:rPr kumimoji="1" lang="en-US" sz="2000" dirty="0"/>
              <a:t> 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endParaRPr kumimoji="1" lang="en-US" sz="2000" dirty="0"/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kumimoji="1" lang="en-US" sz="2000" b="1" dirty="0"/>
              <a:t>Do Some Coding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Here is an example of a song in IaC</a:t>
            </a:r>
          </a:p>
          <a:p>
            <a:pPr marL="742950" lvl="1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br>
              <a:rPr kumimoji="1" lang="en-US" sz="2000" dirty="0"/>
            </a:br>
            <a:endParaRPr kumimoji="1" lang="en-US" sz="2000" dirty="0"/>
          </a:p>
          <a:p>
            <a:pPr marL="742950" lvl="1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endParaRPr kumimoji="1" lang="en-US" sz="2000" dirty="0"/>
          </a:p>
          <a:p>
            <a:pPr marL="742950" lvl="1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endParaRPr kumimoji="1" lang="en-US" sz="2000" dirty="0"/>
          </a:p>
          <a:p>
            <a:pPr marL="742950" lvl="1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endParaRPr kumimoji="1" lang="en-US" sz="2000" dirty="0"/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endParaRPr kumimoji="1" lang="en-US" sz="2000" dirty="0"/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Add a data element like this to main.tf and add the element to the list of tracks!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endParaRPr kumimoji="1" lang="en-US" sz="2000" dirty="0"/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kumimoji="1" lang="en-US" sz="2000" b="1" dirty="0"/>
              <a:t>Create A Pull Request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Link to Instructions: </a:t>
            </a:r>
            <a:r>
              <a:rPr kumimoji="1" lang="en-US" sz="2000" dirty="0">
                <a:hlinkClick r:id="rId4"/>
              </a:rPr>
              <a:t>https://github.com/mitchellciupak/spotify-playlist-with-terraform-brownbag#contributing-rules</a:t>
            </a:r>
            <a:r>
              <a:rPr kumimoji="1" lang="en-US" sz="2000" dirty="0"/>
              <a:t> 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endParaRPr kumimoji="1" lang="en-US" sz="2000" dirty="0"/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kumimoji="1" lang="en-US" sz="2000" b="1" dirty="0"/>
              <a:t>After Merging all the PRs, We Will Deploy!</a:t>
            </a:r>
            <a:endParaRPr kumimoji="1" lang="en-US" sz="2000" dirty="0"/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endParaRPr kumimoji="1" lang="en-US" sz="20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2333C1-AD04-4A4C-9178-371790B099D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</p:spPr>
        <p:txBody>
          <a:bodyPr anchor="ctr">
            <a:normAutofit/>
          </a:bodyPr>
          <a:lstStyle/>
          <a:p>
            <a:pPr marR="0" lvl="0" indent="0" defTabSz="60955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© 2022 NTT DATA, Inc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04545E-01B5-44C2-991B-26421B7BC13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</p:spPr>
        <p:txBody>
          <a:bodyPr anchor="ctr">
            <a:normAutofit/>
          </a:bodyPr>
          <a:lstStyle/>
          <a:p>
            <a:pPr marR="0" lvl="0" indent="0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92EA2340-BE12-4138-BE15-7C339B03EB4B}" type="slidenum">
              <a:rPr kumimoji="0" lang="en-US" sz="600" b="0" i="0" u="none" strike="noStrike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R="0" lvl="0" indent="0" fontAlgn="auto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600" b="0" i="0" u="none" strike="noStrike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4C23B41-7089-4A60-B8D2-E668F4E1162C}"/>
              </a:ext>
            </a:extLst>
          </p:cNvPr>
          <p:cNvSpPr txBox="1"/>
          <p:nvPr/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rtlCol="0" anchor="t" anchorCtr="0">
            <a:normAutofit/>
          </a:bodyPr>
          <a:lstStyle/>
          <a:p>
            <a:pPr marR="0" lvl="0" defTabSz="609555" fontAlgn="base" latinLnBrk="0"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r>
              <a:rPr kumimoji="1" lang="en-US" sz="2400" dirty="0">
                <a:latin typeface="+mj-ea"/>
                <a:ea typeface="+mj-ea"/>
                <a:cs typeface="Arial"/>
              </a:rPr>
              <a:t>Let's do it</a:t>
            </a:r>
            <a:endParaRPr kumimoji="1" lang="en-US" sz="2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ea"/>
              <a:ea typeface="+mj-ea"/>
              <a:cs typeface="Arial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1E32C2A-E770-054B-9E7E-323B33D1C9C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7543" y="2743200"/>
            <a:ext cx="5991225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022710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3848EE4-019E-2B15-9807-06C3B0DAF51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92EA2340-BE12-4138-BE15-7C339B03EB4B}" type="slidenum">
              <a:rPr lang="en-US" smtClean="0"/>
              <a:pPr algn="ctr"/>
              <a:t>1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7B153F-E53B-896B-0A2E-DCEC0C5435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Closing Q&amp;A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4153459-BD69-0FA2-4FD5-011CFD50874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609555"/>
            <a:r>
              <a:rPr lang="en-US"/>
              <a:t>© 2021 NTT DATA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7002334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933B79A-4208-FC9C-C326-AFD4E800C7A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609555"/>
            <a:r>
              <a:rPr lang="en-US"/>
              <a:t>© 2020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1C4CEFD-410B-599F-03B7-C7724C6CFAB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92EA2340-BE12-4138-BE15-7C339B03EB4B}" type="slidenum">
              <a:rPr lang="en-US" smtClean="0"/>
              <a:pPr algn="ctr"/>
              <a:t>18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CC226FF-BDF9-D62B-8EB1-873F780CA34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167667353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5AC029A-F30D-0DBC-C9D0-E5FEE275BCC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4BB19F9-150E-E332-3D14-96D1B06FDB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92EA2340-BE12-4138-BE15-7C339B03EB4B}" type="slidenum">
              <a:rPr lang="en-US" smtClean="0"/>
              <a:pPr algn="ctr"/>
              <a:t>19</a:t>
            </a:fld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B65310D-AA39-E435-C341-5F7A7473F5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>
                <a:solidFill>
                  <a:schemeClr val="bg2"/>
                </a:solidFill>
              </a:rPr>
              <a:t>Step 1:</a:t>
            </a:r>
            <a:r>
              <a:rPr lang="en-US" dirty="0"/>
              <a:t> Create or Sign Into Your GitHub Account</a:t>
            </a:r>
          </a:p>
          <a:p>
            <a:pPr lvl="1"/>
            <a:r>
              <a:rPr lang="en-US" sz="1600" b="0" i="0" dirty="0">
                <a:effectLst/>
              </a:rPr>
              <a:t>Please Refer to the </a:t>
            </a:r>
            <a:r>
              <a:rPr lang="en-US" sz="1600" b="0" i="0" u="none" strike="noStrike" dirty="0">
                <a:effectLst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./presentation/IaC_brownbag_CreateAGitHubAccount.pdf</a:t>
            </a:r>
            <a:r>
              <a:rPr lang="en-US" sz="1600" b="0" i="0" dirty="0">
                <a:effectLst/>
              </a:rPr>
              <a:t> document for instructions on how to signup for GitHub, otherwise sign into your account at </a:t>
            </a:r>
            <a:r>
              <a:rPr lang="en-US" sz="1600" b="0" i="0" u="none" strike="noStrike" dirty="0">
                <a:effectLst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ithub.com/</a:t>
            </a:r>
            <a:r>
              <a:rPr lang="en-US" sz="1600" b="0" i="0" dirty="0">
                <a:effectLst/>
              </a:rPr>
              <a:t>.</a:t>
            </a:r>
          </a:p>
          <a:p>
            <a:pPr marL="0" indent="0">
              <a:buNone/>
            </a:pPr>
            <a:r>
              <a:rPr lang="en-US" dirty="0">
                <a:solidFill>
                  <a:schemeClr val="bg2"/>
                </a:solidFill>
              </a:rPr>
              <a:t>Step 2:</a:t>
            </a:r>
            <a:r>
              <a:rPr lang="en-US" dirty="0"/>
              <a:t> Navigate to The '</a:t>
            </a:r>
            <a:r>
              <a:rPr lang="en-US" dirty="0" err="1"/>
              <a:t>spotify</a:t>
            </a:r>
            <a:r>
              <a:rPr lang="en-US" dirty="0"/>
              <a:t>-playlist-with-terraform-brownbag' Repository</a:t>
            </a:r>
          </a:p>
          <a:p>
            <a:pPr lvl="1"/>
            <a:r>
              <a:rPr lang="en-US" sz="1600" dirty="0"/>
              <a:t>Use the following link to get to the '</a:t>
            </a:r>
            <a:r>
              <a:rPr lang="en-US" sz="1600" dirty="0" err="1"/>
              <a:t>spotify</a:t>
            </a:r>
            <a:r>
              <a:rPr lang="en-US" sz="1600" dirty="0"/>
              <a:t>-playlist-with-terraform-brownbag' Repository: </a:t>
            </a:r>
            <a:r>
              <a:rPr lang="en-US" sz="1600" dirty="0"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ithub.com/mitchellciupak/spotify-playlist-with-terraform-brownbag</a:t>
            </a:r>
            <a:endParaRPr lang="en-US" sz="160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EFB2942-80F6-0700-80D5-F355A46442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ributing Rules – Steps 1 &amp; 2</a:t>
            </a:r>
          </a:p>
        </p:txBody>
      </p:sp>
    </p:spTree>
    <p:extLst>
      <p:ext uri="{BB962C8B-B14F-4D97-AF65-F5344CB8AC3E}">
        <p14:creationId xmlns:p14="http://schemas.microsoft.com/office/powerpoint/2010/main" val="26133842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E8767E5-E605-4AFB-A60D-00D754AAFA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53056" y="1371600"/>
            <a:ext cx="8153400" cy="4800600"/>
          </a:xfrm>
        </p:spPr>
        <p:txBody>
          <a:bodyPr/>
          <a:lstStyle/>
          <a:p>
            <a:pPr>
              <a:buFont typeface="+mj-lt"/>
              <a:buAutoNum type="romanUcPeriod"/>
            </a:pPr>
            <a:r>
              <a:rPr lang="en-US" dirty="0"/>
              <a:t>Introduction</a:t>
            </a:r>
          </a:p>
          <a:p>
            <a:pPr marL="1066756" lvl="1" indent="-457200">
              <a:buFont typeface="+mj-lt"/>
              <a:buAutoNum type="arabicPeriod"/>
            </a:pPr>
            <a:r>
              <a:rPr lang="en-US" dirty="0"/>
              <a:t>What is Infrastructure as Code?</a:t>
            </a:r>
          </a:p>
          <a:p>
            <a:pPr marL="1066756" lvl="1" indent="-457200">
              <a:buFont typeface="+mj-lt"/>
              <a:buAutoNum type="arabicPeriod"/>
            </a:pPr>
            <a:r>
              <a:rPr lang="en-US" dirty="0"/>
              <a:t>IaC Tools</a:t>
            </a:r>
          </a:p>
          <a:p>
            <a:pPr marL="1066756" lvl="1" indent="-457200">
              <a:buFont typeface="+mj-lt"/>
              <a:buAutoNum type="arabicPeriod"/>
            </a:pPr>
            <a:r>
              <a:rPr lang="en-US" dirty="0"/>
              <a:t>What is Terraform?</a:t>
            </a:r>
          </a:p>
          <a:p>
            <a:pPr marL="1066756" lvl="1" indent="-457200">
              <a:buFont typeface="+mj-lt"/>
              <a:buAutoNum type="arabicPeriod"/>
            </a:pPr>
            <a:r>
              <a:rPr lang="en-US" dirty="0"/>
              <a:t>What is </a:t>
            </a:r>
            <a:r>
              <a:rPr lang="en-US" dirty="0" err="1"/>
              <a:t>GitOps</a:t>
            </a:r>
            <a:r>
              <a:rPr lang="en-US" dirty="0"/>
              <a:t>?</a:t>
            </a:r>
          </a:p>
          <a:p>
            <a:pPr marL="1066756" lvl="1" indent="-457200">
              <a:buFont typeface="+mj-lt"/>
              <a:buAutoNum type="arabicPeriod"/>
            </a:pPr>
            <a:endParaRPr lang="en-US" dirty="0"/>
          </a:p>
          <a:p>
            <a:pPr>
              <a:buFont typeface="+mj-lt"/>
              <a:buAutoNum type="romanUcPeriod"/>
            </a:pPr>
            <a:r>
              <a:rPr lang="en-US" dirty="0"/>
              <a:t>Workshop</a:t>
            </a:r>
          </a:p>
          <a:p>
            <a:pPr marL="1066756" lvl="1" indent="-457200">
              <a:buFont typeface="+mj-lt"/>
              <a:buAutoNum type="arabicPeriod"/>
            </a:pPr>
            <a:r>
              <a:rPr lang="en-US" dirty="0"/>
              <a:t>GitHub and Contribution Rules</a:t>
            </a:r>
          </a:p>
          <a:p>
            <a:pPr marL="1066756" lvl="1" indent="-457200">
              <a:buFont typeface="+mj-lt"/>
              <a:buAutoNum type="arabicPeriod"/>
            </a:pPr>
            <a:r>
              <a:rPr lang="en-US" dirty="0"/>
              <a:t>Using Terraform</a:t>
            </a:r>
          </a:p>
          <a:p>
            <a:pPr marL="1066756" lvl="1" indent="-457200">
              <a:buFont typeface="+mj-lt"/>
              <a:buAutoNum type="arabicPeriod"/>
            </a:pPr>
            <a:r>
              <a:rPr lang="en-US" dirty="0"/>
              <a:t>Live Demo</a:t>
            </a:r>
          </a:p>
          <a:p>
            <a:pPr marL="1066756" lvl="1" indent="-457200">
              <a:buFont typeface="+mj-lt"/>
              <a:buAutoNum type="arabicPeriod"/>
            </a:pPr>
            <a:r>
              <a:rPr lang="en-US" dirty="0"/>
              <a:t>Deployment</a:t>
            </a:r>
          </a:p>
          <a:p>
            <a:pPr marL="1066756" lvl="1" indent="-457200">
              <a:buFont typeface="+mj-lt"/>
              <a:buAutoNum type="arabicPeriod"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67B6C1C-491A-4E2E-B5CA-3A81FBC902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15206E-5F6D-4956-B4CB-066D9D873CF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92EA2340-BE12-4138-BE15-7C339B03EB4B}" type="slidenum">
              <a:rPr lang="en-US" smtClean="0"/>
              <a:pPr algn="ctr"/>
              <a:t>2</a:t>
            </a:fld>
            <a:endParaRPr lang="en-US"/>
          </a:p>
        </p:txBody>
      </p:sp>
      <p:sp>
        <p:nvSpPr>
          <p:cNvPr id="6" name="Title 4">
            <a:extLst>
              <a:ext uri="{FF2B5EF4-FFF2-40B4-BE49-F238E27FC236}">
                <a16:creationId xmlns:a16="http://schemas.microsoft.com/office/drawing/2014/main" id="{94CB420A-BE14-4C3F-BBDB-A15B17DBDF63}"/>
              </a:ext>
            </a:extLst>
          </p:cNvPr>
          <p:cNvSpPr txBox="1">
            <a:spLocks/>
          </p:cNvSpPr>
          <p:nvPr/>
        </p:nvSpPr>
        <p:spPr>
          <a:xfrm>
            <a:off x="638556" y="560316"/>
            <a:ext cx="11582400" cy="81128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 defTabSz="609555" rtl="0" eaLnBrk="1" fontAlgn="base" hangingPunct="1">
              <a:spcBef>
                <a:spcPct val="0"/>
              </a:spcBef>
              <a:spcAft>
                <a:spcPct val="0"/>
              </a:spcAft>
              <a:tabLst/>
              <a:defRPr kumimoji="1" lang="en-US" sz="2400" b="0" i="0" kern="1200" spc="0" baseline="0" dirty="0">
                <a:solidFill>
                  <a:schemeClr val="bg1"/>
                </a:solidFill>
                <a:latin typeface="+mj-ea"/>
                <a:ea typeface="+mj-ea"/>
                <a:cs typeface="Arial"/>
              </a:defRPr>
            </a:lvl1pPr>
            <a:lvl2pPr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2pPr>
            <a:lvl3pPr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3pPr>
            <a:lvl4pPr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4pPr>
            <a:lvl5pPr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5pPr>
            <a:lvl6pPr marL="609555"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6pPr>
            <a:lvl7pPr marL="1219110"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7pPr>
            <a:lvl8pPr marL="1828664"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8pPr>
            <a:lvl9pPr marL="2438218"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9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42257220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3.1">
            <a:extLst>
              <a:ext uri="{FF2B5EF4-FFF2-40B4-BE49-F238E27FC236}">
                <a16:creationId xmlns:a16="http://schemas.microsoft.com/office/drawing/2014/main" id="{6190E5A2-F177-2637-17AA-A22008EE3D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57201" y="2402681"/>
            <a:ext cx="5410200" cy="3043237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B65310D-AA39-E435-C341-5F7A7473F5FD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321426" y="1447800"/>
            <a:ext cx="5413362" cy="4953000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en-US" dirty="0">
                <a:solidFill>
                  <a:schemeClr val="bg2"/>
                </a:solidFill>
              </a:rPr>
              <a:t>Step 3a: </a:t>
            </a:r>
            <a:r>
              <a:rPr lang="en-US" i="0" dirty="0">
                <a:effectLst/>
              </a:rPr>
              <a:t>Start Editing </a:t>
            </a:r>
            <a:r>
              <a:rPr lang="en-US" i="0" u="none" strike="noStrike" dirty="0">
                <a:effectLst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./main.tf</a:t>
            </a:r>
            <a:endParaRPr lang="en-US" i="0" u="none" strike="noStrike" dirty="0">
              <a:effectLst/>
            </a:endParaRPr>
          </a:p>
          <a:p>
            <a:pPr lvl="1"/>
            <a:r>
              <a:rPr lang="en-US" b="0" i="0" dirty="0">
                <a:effectLst/>
              </a:rPr>
              <a:t>Go to ./main.tf and select 'fork this project and edit this file' in the top right corner. This will automatically fork the original repository into your own account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EFB2942-80F6-0700-80D5-F355A46442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640080"/>
            <a:ext cx="11582399" cy="552204"/>
          </a:xfrm>
        </p:spPr>
        <p:txBody>
          <a:bodyPr anchor="t">
            <a:normAutofit/>
          </a:bodyPr>
          <a:lstStyle/>
          <a:p>
            <a:r>
              <a:rPr lang="en-US" dirty="0"/>
              <a:t>Contributing Rules – Step 3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5AC029A-F30D-0DBC-C9D0-E5FEE275BCC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</p:spPr>
        <p:txBody>
          <a:bodyPr anchor="ctr">
            <a:normAutofit/>
          </a:bodyPr>
          <a:lstStyle/>
          <a:p>
            <a:pPr defTabSz="609555">
              <a:lnSpc>
                <a:spcPct val="90000"/>
              </a:lnSpc>
              <a:spcAft>
                <a:spcPts val="600"/>
              </a:spcAft>
            </a:pPr>
            <a:r>
              <a:rPr lang="en-US" sz="600"/>
              <a:t>© 2021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4BB19F9-150E-E332-3D14-96D1B06FDB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92EA2340-BE12-4138-BE15-7C339B03EB4B}" type="slidenum">
              <a:rPr lang="en-US" sz="600" smtClean="0"/>
              <a:pPr>
                <a:lnSpc>
                  <a:spcPct val="90000"/>
                </a:lnSpc>
                <a:spcAft>
                  <a:spcPts val="600"/>
                </a:spcAft>
              </a:pPr>
              <a:t>20</a:t>
            </a:fld>
            <a:endParaRPr lang="en-US" sz="600"/>
          </a:p>
        </p:txBody>
      </p:sp>
    </p:spTree>
    <p:extLst>
      <p:ext uri="{BB962C8B-B14F-4D97-AF65-F5344CB8AC3E}">
        <p14:creationId xmlns:p14="http://schemas.microsoft.com/office/powerpoint/2010/main" val="109423718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6190E5A2-F177-2637-17AA-A22008EE3D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54039" y="2402681"/>
            <a:ext cx="5410199" cy="3043237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B65310D-AA39-E435-C341-5F7A7473F5FD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321426" y="1447800"/>
            <a:ext cx="5413362" cy="4953000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en-US" dirty="0">
                <a:solidFill>
                  <a:schemeClr val="bg2"/>
                </a:solidFill>
              </a:rPr>
              <a:t>Step 3b: </a:t>
            </a:r>
            <a:r>
              <a:rPr lang="en-US" i="0" dirty="0">
                <a:effectLst/>
              </a:rPr>
              <a:t>Add your song to </a:t>
            </a:r>
            <a:r>
              <a:rPr lang="en-US" i="0" u="none" strike="noStrike" dirty="0">
                <a:effectLst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./main.tf</a:t>
            </a:r>
            <a:r>
              <a:rPr lang="en-US" i="0" u="none" strike="noStrike" dirty="0">
                <a:effectLst/>
              </a:rPr>
              <a:t> as code</a:t>
            </a:r>
          </a:p>
          <a:p>
            <a:pPr lvl="1"/>
            <a:r>
              <a:rPr lang="en-US" b="0" i="0" dirty="0">
                <a:effectLst/>
              </a:rPr>
              <a:t>Add your song as a data element. Add that data element to the playlist. Click 'Propose Change'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EFB2942-80F6-0700-80D5-F355A46442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640080"/>
            <a:ext cx="11582399" cy="552204"/>
          </a:xfrm>
        </p:spPr>
        <p:txBody>
          <a:bodyPr anchor="t">
            <a:normAutofit/>
          </a:bodyPr>
          <a:lstStyle/>
          <a:p>
            <a:r>
              <a:rPr lang="en-US" dirty="0"/>
              <a:t>Contributing Rules – Step 3 (cont.)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5AC029A-F30D-0DBC-C9D0-E5FEE275BCC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</p:spPr>
        <p:txBody>
          <a:bodyPr anchor="ctr">
            <a:normAutofit/>
          </a:bodyPr>
          <a:lstStyle/>
          <a:p>
            <a:pPr defTabSz="609555">
              <a:lnSpc>
                <a:spcPct val="90000"/>
              </a:lnSpc>
              <a:spcAft>
                <a:spcPts val="600"/>
              </a:spcAft>
            </a:pPr>
            <a:r>
              <a:rPr lang="en-US" sz="600"/>
              <a:t>© 2021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4BB19F9-150E-E332-3D14-96D1B06FDB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92EA2340-BE12-4138-BE15-7C339B03EB4B}" type="slidenum">
              <a:rPr lang="en-US" sz="600" smtClean="0"/>
              <a:pPr>
                <a:lnSpc>
                  <a:spcPct val="90000"/>
                </a:lnSpc>
                <a:spcAft>
                  <a:spcPts val="600"/>
                </a:spcAft>
              </a:pPr>
              <a:t>21</a:t>
            </a:fld>
            <a:endParaRPr lang="en-US" sz="600"/>
          </a:p>
        </p:txBody>
      </p:sp>
    </p:spTree>
    <p:extLst>
      <p:ext uri="{BB962C8B-B14F-4D97-AF65-F5344CB8AC3E}">
        <p14:creationId xmlns:p14="http://schemas.microsoft.com/office/powerpoint/2010/main" val="153760096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6190E5A2-F177-2637-17AA-A22008EE3D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54039" y="3357563"/>
            <a:ext cx="5410199" cy="3043236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B65310D-AA39-E435-C341-5F7A7473F5FD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321426" y="1447800"/>
            <a:ext cx="5413362" cy="4953000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en-US" dirty="0">
                <a:solidFill>
                  <a:schemeClr val="bg2"/>
                </a:solidFill>
              </a:rPr>
              <a:t>Step 4a: </a:t>
            </a:r>
            <a:r>
              <a:rPr lang="en-US" dirty="0"/>
              <a:t>Make a Pull Request</a:t>
            </a:r>
            <a:endParaRPr lang="en-US" i="0" u="none" strike="noStrike" dirty="0">
              <a:effectLst/>
            </a:endParaRPr>
          </a:p>
          <a:p>
            <a:pPr lvl="1"/>
            <a:r>
              <a:rPr lang="en-US" b="0" i="0" dirty="0">
                <a:effectLst/>
              </a:rPr>
              <a:t>Validate that you are requesting to pull the correct branch into the correct branch and click 'Create Pull Request’. (</a:t>
            </a:r>
            <a:r>
              <a:rPr lang="en-US" b="0" i="1" dirty="0">
                <a:effectLst/>
              </a:rPr>
              <a:t>top image</a:t>
            </a:r>
            <a:r>
              <a:rPr lang="en-US" b="0" i="0" dirty="0">
                <a:effectLst/>
              </a:rPr>
              <a:t>)</a:t>
            </a:r>
          </a:p>
          <a:p>
            <a:pPr lvl="1"/>
            <a:r>
              <a:rPr lang="en-US" dirty="0"/>
              <a:t>Click ‘Create Pull Request’ (</a:t>
            </a:r>
            <a:r>
              <a:rPr lang="en-US" i="1" dirty="0"/>
              <a:t>bottom image</a:t>
            </a:r>
            <a:r>
              <a:rPr lang="en-US" dirty="0"/>
              <a:t>)</a:t>
            </a:r>
            <a:endParaRPr lang="en-US" b="0" i="0" dirty="0">
              <a:effectLst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EFB2942-80F6-0700-80D5-F355A46442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640080"/>
            <a:ext cx="11582399" cy="552204"/>
          </a:xfrm>
        </p:spPr>
        <p:txBody>
          <a:bodyPr anchor="t">
            <a:normAutofit/>
          </a:bodyPr>
          <a:lstStyle/>
          <a:p>
            <a:r>
              <a:rPr lang="en-US" dirty="0"/>
              <a:t>Contributing Rules – Step 4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5AC029A-F30D-0DBC-C9D0-E5FEE275BCC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</p:spPr>
        <p:txBody>
          <a:bodyPr anchor="ctr">
            <a:normAutofit/>
          </a:bodyPr>
          <a:lstStyle/>
          <a:p>
            <a:pPr defTabSz="609555">
              <a:lnSpc>
                <a:spcPct val="90000"/>
              </a:lnSpc>
              <a:spcAft>
                <a:spcPts val="600"/>
              </a:spcAft>
            </a:pPr>
            <a:r>
              <a:rPr lang="en-US" sz="600"/>
              <a:t>© 2021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4BB19F9-150E-E332-3D14-96D1B06FDB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92EA2340-BE12-4138-BE15-7C339B03EB4B}" type="slidenum">
              <a:rPr lang="en-US" sz="600" smtClean="0"/>
              <a:pPr>
                <a:lnSpc>
                  <a:spcPct val="90000"/>
                </a:lnSpc>
                <a:spcAft>
                  <a:spcPts val="600"/>
                </a:spcAft>
              </a:pPr>
              <a:t>22</a:t>
            </a:fld>
            <a:endParaRPr lang="en-US" sz="600"/>
          </a:p>
        </p:txBody>
      </p:sp>
      <p:pic>
        <p:nvPicPr>
          <p:cNvPr id="3074" name="Picture 2" descr="4.1">
            <a:extLst>
              <a:ext uri="{FF2B5EF4-FFF2-40B4-BE49-F238E27FC236}">
                <a16:creationId xmlns:a16="http://schemas.microsoft.com/office/drawing/2014/main" id="{0BB37E61-E384-8E3B-A36E-2FA8E55C10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4038" y="1507774"/>
            <a:ext cx="5410199" cy="1534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446522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6190E5A2-F177-2637-17AA-A22008EE3D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54039" y="2402681"/>
            <a:ext cx="5410199" cy="3043237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B65310D-AA39-E435-C341-5F7A7473F5FD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321426" y="1447800"/>
            <a:ext cx="5413362" cy="4953000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en-US" dirty="0">
                <a:solidFill>
                  <a:schemeClr val="bg2"/>
                </a:solidFill>
              </a:rPr>
              <a:t>Step 4b:</a:t>
            </a:r>
            <a:r>
              <a:rPr lang="en-US" dirty="0"/>
              <a:t> </a:t>
            </a:r>
            <a:r>
              <a:rPr lang="en-US" i="0" dirty="0">
                <a:effectLst/>
              </a:rPr>
              <a:t>Add your song to </a:t>
            </a:r>
            <a:r>
              <a:rPr lang="en-US" i="0" u="none" strike="noStrike" dirty="0">
                <a:effectLst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./main.tf</a:t>
            </a:r>
            <a:endParaRPr lang="en-US" i="0" u="none" strike="noStrike" dirty="0">
              <a:effectLst/>
            </a:endParaRPr>
          </a:p>
          <a:p>
            <a:pPr lvl="1"/>
            <a:r>
              <a:rPr lang="en-US" b="0" i="0" dirty="0">
                <a:effectLst/>
              </a:rPr>
              <a:t>Once you are on a page similar to this, you have successfully made a PR. Move your Card into the ‘In Review’ Column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EFB2942-80F6-0700-80D5-F355A46442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640080"/>
            <a:ext cx="11582399" cy="552204"/>
          </a:xfrm>
        </p:spPr>
        <p:txBody>
          <a:bodyPr anchor="t">
            <a:normAutofit/>
          </a:bodyPr>
          <a:lstStyle/>
          <a:p>
            <a:r>
              <a:rPr lang="en-US" dirty="0"/>
              <a:t>Contributing Rules – Step 4 (cont.)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5AC029A-F30D-0DBC-C9D0-E5FEE275BCC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</p:spPr>
        <p:txBody>
          <a:bodyPr anchor="ctr">
            <a:normAutofit/>
          </a:bodyPr>
          <a:lstStyle/>
          <a:p>
            <a:pPr defTabSz="609555">
              <a:lnSpc>
                <a:spcPct val="90000"/>
              </a:lnSpc>
              <a:spcAft>
                <a:spcPts val="600"/>
              </a:spcAft>
            </a:pPr>
            <a:r>
              <a:rPr lang="en-US" sz="600"/>
              <a:t>© 2021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4BB19F9-150E-E332-3D14-96D1B06FDB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92EA2340-BE12-4138-BE15-7C339B03EB4B}" type="slidenum">
              <a:rPr lang="en-US" sz="600" smtClean="0"/>
              <a:pPr>
                <a:lnSpc>
                  <a:spcPct val="90000"/>
                </a:lnSpc>
                <a:spcAft>
                  <a:spcPts val="600"/>
                </a:spcAft>
              </a:pPr>
              <a:t>23</a:t>
            </a:fld>
            <a:endParaRPr lang="en-US" sz="600"/>
          </a:p>
        </p:txBody>
      </p:sp>
    </p:spTree>
    <p:extLst>
      <p:ext uri="{BB962C8B-B14F-4D97-AF65-F5344CB8AC3E}">
        <p14:creationId xmlns:p14="http://schemas.microsoft.com/office/powerpoint/2010/main" val="199544597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diagram&#10;&#10;Description automatically generated">
            <a:extLst>
              <a:ext uri="{FF2B5EF4-FFF2-40B4-BE49-F238E27FC236}">
                <a16:creationId xmlns:a16="http://schemas.microsoft.com/office/drawing/2014/main" id="{F449EBB1-0393-9463-E470-B041BDA450F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1007" y="525463"/>
            <a:ext cx="8769985" cy="62642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7835825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 descr="Chart, box and whisker chart&#10;&#10;Description automatically generated">
            <a:extLst>
              <a:ext uri="{FF2B5EF4-FFF2-40B4-BE49-F238E27FC236}">
                <a16:creationId xmlns:a16="http://schemas.microsoft.com/office/drawing/2014/main" id="{44037AC6-ABE1-01D5-48CC-7D408CF1CAC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1" y="2571750"/>
            <a:ext cx="5410200" cy="2705100"/>
          </a:xfrm>
          <a:prstGeom prst="rect">
            <a:avLst/>
          </a:prstGeom>
          <a:noFill/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E8163054-9129-290F-6F1E-2907B1B9A076}"/>
              </a:ext>
            </a:extLst>
          </p:cNvPr>
          <p:cNvSpPr txBox="1"/>
          <p:nvPr/>
        </p:nvSpPr>
        <p:spPr>
          <a:xfrm>
            <a:off x="6321426" y="1447800"/>
            <a:ext cx="5413362" cy="4953000"/>
          </a:xfrm>
          <a:prstGeom prst="rect">
            <a:avLst/>
          </a:prstGeom>
        </p:spPr>
        <p:txBody>
          <a:bodyPr lIns="0" rIns="0">
            <a:normAutofit/>
          </a:bodyPr>
          <a:lstStyle/>
          <a:p>
            <a:pPr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</a:pPr>
            <a:r>
              <a:rPr kumimoji="1" lang="en-US" sz="1700" b="1" dirty="0"/>
              <a:t>The Problem w/ Manual Configuration</a:t>
            </a:r>
          </a:p>
          <a:p>
            <a:pPr marL="285750" indent="-2857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1700" dirty="0"/>
              <a:t>Manually configuring your cloud infrastructure allows you to easily begin using new service offerings to quickly prototype architectures, however it comes with many downsides:</a:t>
            </a:r>
          </a:p>
          <a:p>
            <a:pPr marL="742950" lvl="1" indent="-2857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1700" dirty="0"/>
              <a:t>It is easy to mis-configure a service through human error.</a:t>
            </a:r>
          </a:p>
          <a:p>
            <a:pPr marL="742950" lvl="1" indent="-2857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1700" dirty="0"/>
              <a:t>It is difficult to manage or move the expected state of your configuration.</a:t>
            </a:r>
          </a:p>
          <a:p>
            <a:pPr marL="742950" lvl="1" indent="-2857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1700" dirty="0"/>
              <a:t>It is difficult to transfer knowledge of the configurations to other team members.</a:t>
            </a:r>
          </a:p>
          <a:p>
            <a:pPr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</a:pPr>
            <a:r>
              <a:rPr kumimoji="1" lang="en-US" sz="1700" b="1" dirty="0"/>
              <a:t>Infrastructure as Code (IaC)</a:t>
            </a:r>
          </a:p>
          <a:p>
            <a:pPr marL="285750" indent="-2857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1700" dirty="0"/>
              <a:t>You simply write a configuration in a script to automate the creation, updates, and destruction of your cloud infrastructure.</a:t>
            </a:r>
          </a:p>
          <a:p>
            <a:pPr marL="285750" indent="-2857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1700" dirty="0"/>
              <a:t>IaC is a blueprint for your infrastructure.</a:t>
            </a:r>
          </a:p>
          <a:p>
            <a:pPr marL="285750" indent="-2857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1700" dirty="0"/>
              <a:t>IaC can be easily shared, versioned, and acts as an inventory for your cloud infrastructure.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4C23B41-7089-4A60-B8D2-E668F4E1162C}"/>
              </a:ext>
            </a:extLst>
          </p:cNvPr>
          <p:cNvSpPr txBox="1"/>
          <p:nvPr/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rtlCol="0" anchor="t" anchorCtr="0">
            <a:normAutofit/>
          </a:bodyPr>
          <a:lstStyle/>
          <a:p>
            <a:pPr marR="0" lvl="0" defTabSz="609555" fontAlgn="base" latinLnBrk="0"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r>
              <a:rPr kumimoji="1" lang="en-US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ea"/>
                <a:ea typeface="+mj-ea"/>
                <a:cs typeface="Arial"/>
              </a:rPr>
              <a:t>What is IaC (Infrastructure as Code)?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2333C1-AD04-4A4C-9178-371790B099D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</p:spPr>
        <p:txBody>
          <a:bodyPr anchor="ctr">
            <a:normAutofit/>
          </a:bodyPr>
          <a:lstStyle/>
          <a:p>
            <a:pPr marR="0" lvl="0" indent="0" defTabSz="60955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© 2022 NTT DATA, Inc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04545E-01B5-44C2-991B-26421B7BC1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</p:spPr>
        <p:txBody>
          <a:bodyPr anchor="ctr">
            <a:normAutofit/>
          </a:bodyPr>
          <a:lstStyle/>
          <a:p>
            <a:pPr marR="0" lvl="0" indent="0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92EA2340-BE12-4138-BE15-7C339B03EB4B}" type="slidenum">
              <a:rPr kumimoji="0" lang="en-US" sz="600" b="0" i="0" u="none" strike="noStrike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R="0" lvl="0" indent="0" fontAlgn="auto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600" b="0" i="0" u="none" strike="noStrike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9255482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Box 36">
            <a:extLst>
              <a:ext uri="{FF2B5EF4-FFF2-40B4-BE49-F238E27FC236}">
                <a16:creationId xmlns:a16="http://schemas.microsoft.com/office/drawing/2014/main" id="{E8163054-9129-290F-6F1E-2907B1B9A076}"/>
              </a:ext>
            </a:extLst>
          </p:cNvPr>
          <p:cNvSpPr txBox="1"/>
          <p:nvPr/>
        </p:nvSpPr>
        <p:spPr>
          <a:xfrm>
            <a:off x="304800" y="1447800"/>
            <a:ext cx="11582400" cy="4770120"/>
          </a:xfrm>
          <a:prstGeom prst="rect">
            <a:avLst/>
          </a:prstGeom>
        </p:spPr>
        <p:txBody>
          <a:bodyPr lIns="0" rIns="0">
            <a:normAutofit fontScale="92500" lnSpcReduction="20000"/>
          </a:bodyPr>
          <a:lstStyle/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kumimoji="1" lang="en-US" sz="2000" b="1" dirty="0"/>
              <a:t>Popular Infrastructure as Code Tools  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Declarative v. Imperative  </a:t>
            </a:r>
          </a:p>
          <a:p>
            <a:pPr marL="742950" lvl="1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There are two types of these tools. Declarative and Imperative. </a:t>
            </a:r>
            <a:r>
              <a:rPr kumimoji="1" lang="en-US" sz="2000" u="sng" dirty="0"/>
              <a:t>Declarative</a:t>
            </a:r>
            <a:r>
              <a:rPr kumimoji="1" lang="en-US" sz="2000" dirty="0"/>
              <a:t> tools are explicit, largely non-conditional, and are typically written in JSON, YAML, or XML. </a:t>
            </a:r>
            <a:r>
              <a:rPr kumimoji="1" lang="en-US" sz="2000" u="sng" dirty="0"/>
              <a:t>Imperative</a:t>
            </a:r>
            <a:r>
              <a:rPr kumimoji="1" lang="en-US" sz="2000" dirty="0"/>
              <a:t> tools tie into programming languages and offer the ability to be nested in conditionals or loops of the language, making them prone to misconfiguration.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Declarative Examples  </a:t>
            </a:r>
          </a:p>
          <a:p>
            <a:pPr marL="742950" lvl="1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Azure Blueprints</a:t>
            </a:r>
          </a:p>
          <a:p>
            <a:pPr marL="742950" lvl="1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AWS CloudFormation</a:t>
            </a:r>
          </a:p>
          <a:p>
            <a:pPr marL="742950" lvl="1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GCP Cloud Deployment Manager</a:t>
            </a:r>
          </a:p>
          <a:p>
            <a:pPr marL="742950" lvl="1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b="1" dirty="0"/>
              <a:t>Terraform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Imperative Examples</a:t>
            </a:r>
          </a:p>
          <a:p>
            <a:pPr marL="742950" lvl="1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AWS CKD  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More About Terraform  </a:t>
            </a:r>
          </a:p>
          <a:p>
            <a:pPr marL="742950" lvl="1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Terraform is a declarative IaC tool with its own language that supports loops, complex data structures, and dynamic blocks to a limited functional capacity. Offering the best of both worlds.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endParaRPr kumimoji="1" lang="en-US" sz="20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2333C1-AD04-4A4C-9178-371790B099D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</p:spPr>
        <p:txBody>
          <a:bodyPr anchor="ctr">
            <a:normAutofit/>
          </a:bodyPr>
          <a:lstStyle/>
          <a:p>
            <a:pPr marR="0" lvl="0" indent="0" defTabSz="60955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© 2022 NTT DATA, Inc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04545E-01B5-44C2-991B-26421B7BC13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</p:spPr>
        <p:txBody>
          <a:bodyPr anchor="ctr">
            <a:normAutofit/>
          </a:bodyPr>
          <a:lstStyle/>
          <a:p>
            <a:pPr marR="0" lvl="0" indent="0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92EA2340-BE12-4138-BE15-7C339B03EB4B}" type="slidenum">
              <a:rPr kumimoji="0" lang="en-US" sz="600" b="0" i="0" u="none" strike="noStrike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R="0" lvl="0" indent="0" fontAlgn="auto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600" b="0" i="0" u="none" strike="noStrike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4C23B41-7089-4A60-B8D2-E668F4E1162C}"/>
              </a:ext>
            </a:extLst>
          </p:cNvPr>
          <p:cNvSpPr txBox="1"/>
          <p:nvPr/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rtlCol="0" anchor="t" anchorCtr="0">
            <a:normAutofit/>
          </a:bodyPr>
          <a:lstStyle/>
          <a:p>
            <a:pPr marR="0" lvl="0" defTabSz="609555" fontAlgn="base" latinLnBrk="0"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r>
              <a:rPr kumimoji="1" lang="en-US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ea"/>
                <a:ea typeface="+mj-ea"/>
                <a:cs typeface="Arial"/>
              </a:rPr>
              <a:t>IaC (Infrastructure as Code) Tools</a:t>
            </a:r>
          </a:p>
        </p:txBody>
      </p:sp>
      <p:pic>
        <p:nvPicPr>
          <p:cNvPr id="4100" name="Picture 4" descr="Deployment, management, copy, aws, cloudformation icon - Free download">
            <a:extLst>
              <a:ext uri="{FF2B5EF4-FFF2-40B4-BE49-F238E27FC236}">
                <a16:creationId xmlns:a16="http://schemas.microsoft.com/office/drawing/2014/main" id="{679FD9CC-37BD-7E26-924E-5792A2BBE1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60448" y="3375323"/>
            <a:ext cx="2127231" cy="21272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 descr="azure-blueprints - Microsoft Q&amp;A">
            <a:extLst>
              <a:ext uri="{FF2B5EF4-FFF2-40B4-BE49-F238E27FC236}">
                <a16:creationId xmlns:a16="http://schemas.microsoft.com/office/drawing/2014/main" id="{51BC3D69-1695-B9EB-32A6-093DEFD05A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117890">
            <a:off x="9976114" y="3379363"/>
            <a:ext cx="1255182" cy="12551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2" name="Picture 6">
            <a:extLst>
              <a:ext uri="{FF2B5EF4-FFF2-40B4-BE49-F238E27FC236}">
                <a16:creationId xmlns:a16="http://schemas.microsoft.com/office/drawing/2014/main" id="{F8E9A689-B124-56FA-D55F-5E1AB7D833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794844" y="3140567"/>
            <a:ext cx="1037613" cy="102266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45E89718-82DA-234C-706C-44AF4A44E9C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294914" y="4245021"/>
            <a:ext cx="972801" cy="868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65609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Box 36">
            <a:extLst>
              <a:ext uri="{FF2B5EF4-FFF2-40B4-BE49-F238E27FC236}">
                <a16:creationId xmlns:a16="http://schemas.microsoft.com/office/drawing/2014/main" id="{E8163054-9129-290F-6F1E-2907B1B9A076}"/>
              </a:ext>
            </a:extLst>
          </p:cNvPr>
          <p:cNvSpPr txBox="1"/>
          <p:nvPr/>
        </p:nvSpPr>
        <p:spPr>
          <a:xfrm>
            <a:off x="304800" y="1447800"/>
            <a:ext cx="11582400" cy="4770120"/>
          </a:xfrm>
          <a:prstGeom prst="rect">
            <a:avLst/>
          </a:prstGeom>
        </p:spPr>
        <p:txBody>
          <a:bodyPr lIns="0" rIns="0">
            <a:normAutofit/>
          </a:bodyPr>
          <a:lstStyle/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kumimoji="1" lang="en-US" sz="2000" b="1" dirty="0"/>
              <a:t>Provisioning v. Deployment v. Orchestration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Provisioning (</a:t>
            </a:r>
            <a:r>
              <a:rPr kumimoji="1" lang="en-US" sz="2000" i="1" dirty="0"/>
              <a:t>Done by defining IaC</a:t>
            </a:r>
            <a:r>
              <a:rPr kumimoji="1" lang="en-US" sz="2000" dirty="0"/>
              <a:t>)</a:t>
            </a:r>
          </a:p>
          <a:p>
            <a:pPr marL="742950" lvl="1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To prepare a server with systems, data, and software, and then make it ready for network operation. When you launch and configure a server you are “provisioning it”.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Deployment (</a:t>
            </a:r>
            <a:r>
              <a:rPr kumimoji="1" lang="en-US" sz="2000" i="1" dirty="0"/>
              <a:t>Done by Applying/ Deploying IaC</a:t>
            </a:r>
            <a:r>
              <a:rPr kumimoji="1" lang="en-US" sz="2000" dirty="0"/>
              <a:t>)</a:t>
            </a:r>
          </a:p>
          <a:p>
            <a:pPr marL="742950" lvl="1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The act of delivering a version of your application to run a provisioned server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Orchestration (</a:t>
            </a:r>
            <a:r>
              <a:rPr kumimoji="1" lang="en-US" sz="2000" i="1" dirty="0"/>
              <a:t>Not IaC)</a:t>
            </a:r>
            <a:endParaRPr kumimoji="1" lang="en-US" sz="2000" dirty="0"/>
          </a:p>
          <a:p>
            <a:pPr marL="742950" lvl="1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The act of coordinating multiple systems or services</a:t>
            </a:r>
          </a:p>
          <a:p>
            <a:pPr marL="742950" lvl="1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Orchestration is a common term used when working with microservices, containers, and Kubernetes. </a:t>
            </a:r>
          </a:p>
          <a:p>
            <a:pPr marL="1200150" lvl="2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Orchestration is needed here because you are often managing thousands of containers.</a:t>
            </a:r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endParaRPr kumimoji="1" lang="en-US" sz="20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2333C1-AD04-4A4C-9178-371790B099D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</p:spPr>
        <p:txBody>
          <a:bodyPr anchor="ctr">
            <a:normAutofit/>
          </a:bodyPr>
          <a:lstStyle/>
          <a:p>
            <a:pPr marR="0" lvl="0" indent="0" defTabSz="60955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© 2022 NTT DATA, Inc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04545E-01B5-44C2-991B-26421B7BC13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</p:spPr>
        <p:txBody>
          <a:bodyPr anchor="ctr">
            <a:normAutofit/>
          </a:bodyPr>
          <a:lstStyle/>
          <a:p>
            <a:pPr marR="0" lvl="0" indent="0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92EA2340-BE12-4138-BE15-7C339B03EB4B}" type="slidenum">
              <a:rPr kumimoji="0" lang="en-US" sz="600" b="0" i="0" u="none" strike="noStrike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R="0" lvl="0" indent="0" fontAlgn="auto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600" b="0" i="0" u="none" strike="noStrike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4C23B41-7089-4A60-B8D2-E668F4E1162C}"/>
              </a:ext>
            </a:extLst>
          </p:cNvPr>
          <p:cNvSpPr txBox="1"/>
          <p:nvPr/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rtlCol="0" anchor="t" anchorCtr="0">
            <a:normAutofit/>
          </a:bodyPr>
          <a:lstStyle/>
          <a:p>
            <a:pPr marR="0" lvl="0" defTabSz="609555" fontAlgn="base" latinLnBrk="0"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r>
              <a:rPr kumimoji="1" lang="en-US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ea"/>
                <a:ea typeface="+mj-ea"/>
                <a:cs typeface="Arial"/>
              </a:rPr>
              <a:t>Infrastructure Management Tools</a:t>
            </a:r>
          </a:p>
        </p:txBody>
      </p:sp>
    </p:spTree>
    <p:extLst>
      <p:ext uri="{BB962C8B-B14F-4D97-AF65-F5344CB8AC3E}">
        <p14:creationId xmlns:p14="http://schemas.microsoft.com/office/powerpoint/2010/main" val="25070638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Box 36">
            <a:extLst>
              <a:ext uri="{FF2B5EF4-FFF2-40B4-BE49-F238E27FC236}">
                <a16:creationId xmlns:a16="http://schemas.microsoft.com/office/drawing/2014/main" id="{E8163054-9129-290F-6F1E-2907B1B9A076}"/>
              </a:ext>
            </a:extLst>
          </p:cNvPr>
          <p:cNvSpPr txBox="1"/>
          <p:nvPr/>
        </p:nvSpPr>
        <p:spPr>
          <a:xfrm>
            <a:off x="457201" y="1447800"/>
            <a:ext cx="5410200" cy="4953000"/>
          </a:xfrm>
          <a:prstGeom prst="rect">
            <a:avLst/>
          </a:prstGeom>
        </p:spPr>
        <p:txBody>
          <a:bodyPr lIns="0" rIns="0">
            <a:normAutofit lnSpcReduction="10000"/>
          </a:bodyPr>
          <a:lstStyle/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</a:pPr>
            <a:r>
              <a:rPr kumimoji="1" lang="en-US" sz="2000" b="1" dirty="0"/>
              <a:t>Terraform Re-Introduction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Terraform is a declarative IaC tool that is open-source and cloud-agnostic</a:t>
            </a:r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</a:pPr>
            <a:r>
              <a:rPr kumimoji="1" lang="en-US" sz="2000" b="1" dirty="0"/>
              <a:t>Also…</a:t>
            </a:r>
          </a:p>
          <a:p>
            <a:pPr marL="342900" indent="-34290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kumimoji="1" lang="en-US" sz="2000" dirty="0"/>
              <a:t>Terraform Lifecycle</a:t>
            </a:r>
          </a:p>
          <a:p>
            <a:pPr marL="342900" indent="-34290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kumimoji="1" lang="en-US" sz="2000" dirty="0"/>
              <a:t>Change Automation - Immutability and State Management built-in. A way of creating a consistent, systemic, and predicable way of managing changes in infrastructure.</a:t>
            </a:r>
          </a:p>
          <a:p>
            <a:pPr marL="342900" indent="-34290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kumimoji="1" lang="en-US" sz="2000" dirty="0"/>
              <a:t>Execution Plans – Know the change your planning</a:t>
            </a:r>
          </a:p>
          <a:p>
            <a:pPr marL="342900" indent="-34290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kumimoji="1" lang="en-US" sz="2000" dirty="0"/>
              <a:t>Resource Graphs – Visualize an Execution Plan</a:t>
            </a:r>
          </a:p>
          <a:p>
            <a:pPr marL="342900" indent="-34290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kumimoji="1" lang="en-US" sz="2000" dirty="0"/>
              <a:t>Use Case – Multi-Tiered Single and Multi-Cloud Deployments offering Disposable Environments</a:t>
            </a:r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</a:pPr>
            <a:endParaRPr kumimoji="1" lang="en-US" sz="20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985C885-A2A6-400E-2859-9E6FBFA26C9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21426" y="2665693"/>
            <a:ext cx="5413362" cy="2517213"/>
          </a:xfrm>
          <a:prstGeom prst="rect">
            <a:avLst/>
          </a:prstGeom>
          <a:noFill/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84C23B41-7089-4A60-B8D2-E668F4E1162C}"/>
              </a:ext>
            </a:extLst>
          </p:cNvPr>
          <p:cNvSpPr txBox="1"/>
          <p:nvPr/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rtlCol="0" anchor="t" anchorCtr="0">
            <a:normAutofit/>
          </a:bodyPr>
          <a:lstStyle/>
          <a:p>
            <a:pPr marR="0" lvl="0" defTabSz="609555" fontAlgn="base" latinLnBrk="0"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r>
              <a:rPr kumimoji="1" lang="en-US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ea"/>
                <a:ea typeface="+mj-ea"/>
                <a:cs typeface="Arial"/>
              </a:rPr>
              <a:t>Terraform – A Deeper Div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2333C1-AD04-4A4C-9178-371790B099D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</p:spPr>
        <p:txBody>
          <a:bodyPr anchor="ctr">
            <a:normAutofit/>
          </a:bodyPr>
          <a:lstStyle/>
          <a:p>
            <a:pPr marR="0" lvl="0" indent="0" defTabSz="60955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© 2022 NTT DATA, Inc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04545E-01B5-44C2-991B-26421B7BC1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</p:spPr>
        <p:txBody>
          <a:bodyPr anchor="ctr">
            <a:normAutofit/>
          </a:bodyPr>
          <a:lstStyle/>
          <a:p>
            <a:pPr marR="0" lvl="0" indent="0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92EA2340-BE12-4138-BE15-7C339B03EB4B}" type="slidenum">
              <a:rPr kumimoji="0" lang="en-US" sz="600" b="0" i="0" u="none" strike="noStrike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R="0" lvl="0" indent="0" fontAlgn="auto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600" b="0" i="0" u="none" strike="noStrike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A8E76182-6BEC-D974-A068-AB52A92BB6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5113" y="1405113"/>
            <a:ext cx="4371975" cy="1047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484904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3848EE4-019E-2B15-9807-06C3B0DAF51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92EA2340-BE12-4138-BE15-7C339B03EB4B}" type="slidenum">
              <a:rPr lang="en-US" smtClean="0"/>
              <a:pPr algn="ctr"/>
              <a:t>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7B153F-E53B-896B-0A2E-DCEC0C5435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Presentation Q&amp;A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4153459-BD69-0FA2-4FD5-011CFD50874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609555"/>
            <a:r>
              <a:rPr lang="en-US"/>
              <a:t>© 2021 NTT DATA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1983331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Box 36">
            <a:extLst>
              <a:ext uri="{FF2B5EF4-FFF2-40B4-BE49-F238E27FC236}">
                <a16:creationId xmlns:a16="http://schemas.microsoft.com/office/drawing/2014/main" id="{E8163054-9129-290F-6F1E-2907B1B9A076}"/>
              </a:ext>
            </a:extLst>
          </p:cNvPr>
          <p:cNvSpPr txBox="1"/>
          <p:nvPr/>
        </p:nvSpPr>
        <p:spPr>
          <a:xfrm>
            <a:off x="304800" y="1447800"/>
            <a:ext cx="11582400" cy="4770120"/>
          </a:xfrm>
          <a:prstGeom prst="rect">
            <a:avLst/>
          </a:prstGeom>
        </p:spPr>
        <p:txBody>
          <a:bodyPr lIns="0" rIns="0">
            <a:normAutofit/>
          </a:bodyPr>
          <a:lstStyle/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kumimoji="1" lang="en-US" sz="2000" b="1" dirty="0" err="1"/>
              <a:t>GitOps</a:t>
            </a:r>
            <a:r>
              <a:rPr kumimoji="1" lang="en-US" sz="2000" b="1" dirty="0"/>
              <a:t> Automates Infrastructure Updates 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 err="1"/>
              <a:t>GitOps</a:t>
            </a:r>
            <a:r>
              <a:rPr kumimoji="1" lang="en-US" sz="2000" dirty="0"/>
              <a:t> is when you take Infrastructure as Code (IaC) and you use a git repository to introduce a formal process to review and accept changes to infrastructure. Once that code is accepted, it automatically triggers a deployment.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This is very powerful tooling and is the basis of CI/CD for cloud hosted resources.</a:t>
            </a:r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endParaRPr kumimoji="1" lang="en-US" sz="20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2333C1-AD04-4A4C-9178-371790B099D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</p:spPr>
        <p:txBody>
          <a:bodyPr anchor="ctr">
            <a:normAutofit/>
          </a:bodyPr>
          <a:lstStyle/>
          <a:p>
            <a:pPr marR="0" lvl="0" indent="0" defTabSz="60955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© 2022 NTT DATA, Inc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04545E-01B5-44C2-991B-26421B7BC13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</p:spPr>
        <p:txBody>
          <a:bodyPr anchor="ctr">
            <a:normAutofit/>
          </a:bodyPr>
          <a:lstStyle/>
          <a:p>
            <a:pPr marR="0" lvl="0" indent="0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92EA2340-BE12-4138-BE15-7C339B03EB4B}" type="slidenum">
              <a:rPr kumimoji="0" lang="en-US" sz="600" b="0" i="0" u="none" strike="noStrike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R="0" lvl="0" indent="0" fontAlgn="auto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600" b="0" i="0" u="none" strike="noStrike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4C23B41-7089-4A60-B8D2-E668F4E1162C}"/>
              </a:ext>
            </a:extLst>
          </p:cNvPr>
          <p:cNvSpPr txBox="1"/>
          <p:nvPr/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rtlCol="0" anchor="t" anchorCtr="0">
            <a:normAutofit/>
          </a:bodyPr>
          <a:lstStyle/>
          <a:p>
            <a:pPr marR="0" lvl="0" defTabSz="609555" fontAlgn="base" latinLnBrk="0"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r>
              <a:rPr kumimoji="1" lang="en-US" sz="2400" dirty="0">
                <a:latin typeface="+mj-ea"/>
                <a:ea typeface="+mj-ea"/>
                <a:cs typeface="Arial"/>
              </a:rPr>
              <a:t>What is </a:t>
            </a:r>
            <a:r>
              <a:rPr kumimoji="1" lang="en-US" sz="2400" dirty="0" err="1">
                <a:latin typeface="+mj-ea"/>
                <a:ea typeface="+mj-ea"/>
                <a:cs typeface="Arial"/>
              </a:rPr>
              <a:t>GitOps</a:t>
            </a:r>
            <a:r>
              <a:rPr kumimoji="1" lang="en-US" sz="2400" dirty="0">
                <a:latin typeface="+mj-ea"/>
                <a:ea typeface="+mj-ea"/>
                <a:cs typeface="Arial"/>
              </a:rPr>
              <a:t>?</a:t>
            </a:r>
            <a:endParaRPr kumimoji="1" lang="en-US" sz="2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ea"/>
              <a:ea typeface="+mj-ea"/>
              <a:cs typeface="Arial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36D95FD-4E1F-E496-397A-3C5349051A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14320" y="3249204"/>
            <a:ext cx="6699482" cy="2633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01384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933B79A-4208-FC9C-C326-AFD4E800C7A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609555"/>
            <a:r>
              <a:rPr lang="en-US"/>
              <a:t>© 2020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1C4CEFD-410B-599F-03B7-C7724C6CFAB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92EA2340-BE12-4138-BE15-7C339B03EB4B}" type="slidenum">
              <a:rPr lang="en-US" smtClean="0"/>
              <a:pPr algn="ctr"/>
              <a:t>9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CC226FF-BDF9-D62B-8EB1-873F780CA34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Workshop</a:t>
            </a:r>
          </a:p>
          <a:p>
            <a:r>
              <a:rPr lang="en-US" sz="1400" dirty="0"/>
              <a:t>15 to 20 minutes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5261136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le Slides">
  <a:themeElements>
    <a:clrScheme name="NTT DATA 2019">
      <a:dk1>
        <a:srgbClr val="1C1C1C"/>
      </a:dk1>
      <a:lt1>
        <a:srgbClr val="FFFFFF"/>
      </a:lt1>
      <a:dk2>
        <a:srgbClr val="0F1C50"/>
      </a:dk2>
      <a:lt2>
        <a:srgbClr val="0080B1"/>
      </a:lt2>
      <a:accent1>
        <a:srgbClr val="C2CEE6"/>
      </a:accent1>
      <a:accent2>
        <a:srgbClr val="6785C1"/>
      </a:accent2>
      <a:accent3>
        <a:srgbClr val="E6B600"/>
      </a:accent3>
      <a:accent4>
        <a:srgbClr val="BC4328"/>
      </a:accent4>
      <a:accent5>
        <a:srgbClr val="83B254"/>
      </a:accent5>
      <a:accent6>
        <a:srgbClr val="AA3C80"/>
      </a:accent6>
      <a:hlink>
        <a:srgbClr val="0000FF"/>
      </a:hlink>
      <a:folHlink>
        <a:srgbClr val="800080"/>
      </a:folHlink>
    </a:clrScheme>
    <a:fontScheme name="源真ゴシック P">
      <a:majorFont>
        <a:latin typeface="Arial"/>
        <a:ea typeface="Arial"/>
        <a:cs typeface=""/>
      </a:majorFont>
      <a:minorFont>
        <a:latin typeface="Arial"/>
        <a:ea typeface="Aria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kumimoji="1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noFill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TT DATA - Be Legendary  PowerPoint Template  -  Read-Only" id="{B5EAE158-D897-43C1-9703-3E7C8603330C}" vid="{125D78B2-5292-4B5A-A591-A601BDE477DB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randed Header - Human (BH-H)">
  <a:themeElements>
    <a:clrScheme name="NTT DATA 2019">
      <a:dk1>
        <a:srgbClr val="1C1C1C"/>
      </a:dk1>
      <a:lt1>
        <a:srgbClr val="FFFFFF"/>
      </a:lt1>
      <a:dk2>
        <a:srgbClr val="0F1C50"/>
      </a:dk2>
      <a:lt2>
        <a:srgbClr val="0080B1"/>
      </a:lt2>
      <a:accent1>
        <a:srgbClr val="C2CEE6"/>
      </a:accent1>
      <a:accent2>
        <a:srgbClr val="6785C1"/>
      </a:accent2>
      <a:accent3>
        <a:srgbClr val="E6B600"/>
      </a:accent3>
      <a:accent4>
        <a:srgbClr val="BC4328"/>
      </a:accent4>
      <a:accent5>
        <a:srgbClr val="83B254"/>
      </a:accent5>
      <a:accent6>
        <a:srgbClr val="AA3C80"/>
      </a:accent6>
      <a:hlink>
        <a:srgbClr val="0000FF"/>
      </a:hlink>
      <a:folHlink>
        <a:srgbClr val="800080"/>
      </a:folHlink>
    </a:clrScheme>
    <a:fontScheme name="源真ゴシック P">
      <a:majorFont>
        <a:latin typeface="Arial"/>
        <a:ea typeface="Arial"/>
        <a:cs typeface=""/>
      </a:majorFont>
      <a:minorFont>
        <a:latin typeface="Arial"/>
        <a:ea typeface="Aria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kumimoji="1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6C6CAC3C-59C1-40BD-8648-86233CDB4D40}" vid="{32A8F719-9E1D-4AB3-8B12-85C549BBE1AF}"/>
    </a:ext>
  </a:extLst>
</a:theme>
</file>

<file path=ppt/theme/theme3.xml><?xml version="1.0" encoding="utf-8"?>
<a:theme xmlns:a="http://schemas.openxmlformats.org/drawingml/2006/main" name="1_Branded Header - Human (BH-H)">
  <a:themeElements>
    <a:clrScheme name="NTT DATA 2019">
      <a:dk1>
        <a:srgbClr val="1C1C1C"/>
      </a:dk1>
      <a:lt1>
        <a:srgbClr val="FFFFFF"/>
      </a:lt1>
      <a:dk2>
        <a:srgbClr val="0F1C50"/>
      </a:dk2>
      <a:lt2>
        <a:srgbClr val="0080B1"/>
      </a:lt2>
      <a:accent1>
        <a:srgbClr val="C2CEE6"/>
      </a:accent1>
      <a:accent2>
        <a:srgbClr val="6785C1"/>
      </a:accent2>
      <a:accent3>
        <a:srgbClr val="E6B600"/>
      </a:accent3>
      <a:accent4>
        <a:srgbClr val="BC4328"/>
      </a:accent4>
      <a:accent5>
        <a:srgbClr val="83B254"/>
      </a:accent5>
      <a:accent6>
        <a:srgbClr val="AA3C80"/>
      </a:accent6>
      <a:hlink>
        <a:srgbClr val="0000FF"/>
      </a:hlink>
      <a:folHlink>
        <a:srgbClr val="800080"/>
      </a:folHlink>
    </a:clrScheme>
    <a:fontScheme name="源真ゴシック P">
      <a:majorFont>
        <a:latin typeface="Arial"/>
        <a:ea typeface="Arial"/>
        <a:cs typeface=""/>
      </a:majorFont>
      <a:minorFont>
        <a:latin typeface="Arial"/>
        <a:ea typeface="Aria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kumimoji="1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027F5CC6-E8AD-413B-BA07-A910148B960F}" vid="{0FC1E60F-57D6-4346-8E7E-6967ADF6CF43}"/>
    </a:ext>
  </a:extLst>
</a:theme>
</file>

<file path=ppt/theme/theme4.xml><?xml version="1.0" encoding="utf-8"?>
<a:theme xmlns:a="http://schemas.openxmlformats.org/drawingml/2006/main" name="2_Branded Header - Human (BH-H)">
  <a:themeElements>
    <a:clrScheme name="NTT DATA 2019">
      <a:dk1>
        <a:srgbClr val="1C1C1C"/>
      </a:dk1>
      <a:lt1>
        <a:srgbClr val="FFFFFF"/>
      </a:lt1>
      <a:dk2>
        <a:srgbClr val="0F1C50"/>
      </a:dk2>
      <a:lt2>
        <a:srgbClr val="0080B1"/>
      </a:lt2>
      <a:accent1>
        <a:srgbClr val="C2CEE6"/>
      </a:accent1>
      <a:accent2>
        <a:srgbClr val="6785C1"/>
      </a:accent2>
      <a:accent3>
        <a:srgbClr val="E6B600"/>
      </a:accent3>
      <a:accent4>
        <a:srgbClr val="BC4328"/>
      </a:accent4>
      <a:accent5>
        <a:srgbClr val="83B254"/>
      </a:accent5>
      <a:accent6>
        <a:srgbClr val="AA3C80"/>
      </a:accent6>
      <a:hlink>
        <a:srgbClr val="0000FF"/>
      </a:hlink>
      <a:folHlink>
        <a:srgbClr val="800080"/>
      </a:folHlink>
    </a:clrScheme>
    <a:fontScheme name="源真ゴシック P">
      <a:majorFont>
        <a:latin typeface="Arial"/>
        <a:ea typeface="Arial"/>
        <a:cs typeface=""/>
      </a:majorFont>
      <a:minorFont>
        <a:latin typeface="Arial"/>
        <a:ea typeface="Aria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kumimoji="1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Emerging Talent BU Practice Interlock Call 110421[1]  -  Read-Only" id="{133D8532-733B-014E-AC4E-F68E3DC18FFA}" vid="{56E4F791-8B2F-BE4B-B425-7049E4239EA9}"/>
    </a:ext>
  </a:extLst>
</a:theme>
</file>

<file path=ppt/theme/theme5.xml><?xml version="1.0" encoding="utf-8"?>
<a:theme xmlns:a="http://schemas.openxmlformats.org/drawingml/2006/main" name="3_Branded Header - Human (BH-H)">
  <a:themeElements>
    <a:clrScheme name="NTT DATA 2019">
      <a:dk1>
        <a:srgbClr val="1C1C1C"/>
      </a:dk1>
      <a:lt1>
        <a:srgbClr val="FFFFFF"/>
      </a:lt1>
      <a:dk2>
        <a:srgbClr val="0F1C50"/>
      </a:dk2>
      <a:lt2>
        <a:srgbClr val="0080B1"/>
      </a:lt2>
      <a:accent1>
        <a:srgbClr val="C2CEE6"/>
      </a:accent1>
      <a:accent2>
        <a:srgbClr val="6785C1"/>
      </a:accent2>
      <a:accent3>
        <a:srgbClr val="E6B600"/>
      </a:accent3>
      <a:accent4>
        <a:srgbClr val="BC4328"/>
      </a:accent4>
      <a:accent5>
        <a:srgbClr val="83B254"/>
      </a:accent5>
      <a:accent6>
        <a:srgbClr val="AA3C80"/>
      </a:accent6>
      <a:hlink>
        <a:srgbClr val="0000FF"/>
      </a:hlink>
      <a:folHlink>
        <a:srgbClr val="800080"/>
      </a:folHlink>
    </a:clrScheme>
    <a:fontScheme name="源真ゴシック P">
      <a:majorFont>
        <a:latin typeface="Arial"/>
        <a:ea typeface="Arial"/>
        <a:cs typeface=""/>
      </a:majorFont>
      <a:minorFont>
        <a:latin typeface="Arial"/>
        <a:ea typeface="Aria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kumimoji="1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TTD-CXTemplate2021" id="{A5EE30AE-4494-1D48-9E7C-95EC093D4127}" vid="{A8FC6735-897E-B245-B1DB-B51E41D63C78}"/>
    </a:ext>
  </a:extLst>
</a:theme>
</file>

<file path=ppt/theme/theme6.xml><?xml version="1.0" encoding="utf-8"?>
<a:theme xmlns:a="http://schemas.openxmlformats.org/drawingml/2006/main" name="4_Branded Header - Human (BH-H)">
  <a:themeElements>
    <a:clrScheme name="NTT DATA 2019">
      <a:dk1>
        <a:srgbClr val="1C1C1C"/>
      </a:dk1>
      <a:lt1>
        <a:srgbClr val="FFFFFF"/>
      </a:lt1>
      <a:dk2>
        <a:srgbClr val="0F1C50"/>
      </a:dk2>
      <a:lt2>
        <a:srgbClr val="0080B1"/>
      </a:lt2>
      <a:accent1>
        <a:srgbClr val="C2CEE6"/>
      </a:accent1>
      <a:accent2>
        <a:srgbClr val="6785C1"/>
      </a:accent2>
      <a:accent3>
        <a:srgbClr val="E6B600"/>
      </a:accent3>
      <a:accent4>
        <a:srgbClr val="BC4328"/>
      </a:accent4>
      <a:accent5>
        <a:srgbClr val="83B254"/>
      </a:accent5>
      <a:accent6>
        <a:srgbClr val="AA3C80"/>
      </a:accent6>
      <a:hlink>
        <a:srgbClr val="0000FF"/>
      </a:hlink>
      <a:folHlink>
        <a:srgbClr val="800080"/>
      </a:folHlink>
    </a:clrScheme>
    <a:fontScheme name="源真ゴシック P">
      <a:majorFont>
        <a:latin typeface="Arial"/>
        <a:ea typeface="Arial"/>
        <a:cs typeface=""/>
      </a:majorFont>
      <a:minorFont>
        <a:latin typeface="Arial"/>
        <a:ea typeface="Aria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kumimoji="1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TTD-CXTemplate2021" id="{A5EE30AE-4494-1D48-9E7C-95EC093D4127}" vid="{A8FC6735-897E-B245-B1DB-B51E41D63C78}"/>
    </a:ext>
  </a:extLst>
</a:theme>
</file>

<file path=ppt/theme/theme7.xml><?xml version="1.0" encoding="utf-8"?>
<a:theme xmlns:a="http://schemas.openxmlformats.org/drawingml/2006/main" name="5_Branded Header - Human (BH-H)">
  <a:themeElements>
    <a:clrScheme name="NTT DATA 2019">
      <a:dk1>
        <a:srgbClr val="1C1C1C"/>
      </a:dk1>
      <a:lt1>
        <a:srgbClr val="FFFFFF"/>
      </a:lt1>
      <a:dk2>
        <a:srgbClr val="0F1C50"/>
      </a:dk2>
      <a:lt2>
        <a:srgbClr val="0080B1"/>
      </a:lt2>
      <a:accent1>
        <a:srgbClr val="C2CEE6"/>
      </a:accent1>
      <a:accent2>
        <a:srgbClr val="6785C1"/>
      </a:accent2>
      <a:accent3>
        <a:srgbClr val="E6B600"/>
      </a:accent3>
      <a:accent4>
        <a:srgbClr val="BC4328"/>
      </a:accent4>
      <a:accent5>
        <a:srgbClr val="83B254"/>
      </a:accent5>
      <a:accent6>
        <a:srgbClr val="AA3C80"/>
      </a:accent6>
      <a:hlink>
        <a:srgbClr val="0000FF"/>
      </a:hlink>
      <a:folHlink>
        <a:srgbClr val="800080"/>
      </a:folHlink>
    </a:clrScheme>
    <a:fontScheme name="源真ゴシック P">
      <a:majorFont>
        <a:latin typeface="Arial"/>
        <a:ea typeface="Arial"/>
        <a:cs typeface=""/>
      </a:majorFont>
      <a:minorFont>
        <a:latin typeface="Arial"/>
        <a:ea typeface="Aria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kumimoji="1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TT DATA Services Presentation Template  -  Read-Only" id="{8294CFBD-252E-4489-B4BA-8FA80A7005A4}" vid="{A34FD797-CAA0-4858-9F88-3F60BDE1AA04}"/>
    </a:ext>
  </a:extLst>
</a:theme>
</file>

<file path=ppt/theme/theme8.xml><?xml version="1.0" encoding="utf-8"?>
<a:theme xmlns:a="http://schemas.openxmlformats.org/drawingml/2006/main" name="6_Branded Header - Human (BH-H)">
  <a:themeElements>
    <a:clrScheme name="NTT DATA 2019">
      <a:dk1>
        <a:srgbClr val="1C1C1C"/>
      </a:dk1>
      <a:lt1>
        <a:srgbClr val="FFFFFF"/>
      </a:lt1>
      <a:dk2>
        <a:srgbClr val="0F1C50"/>
      </a:dk2>
      <a:lt2>
        <a:srgbClr val="0080B1"/>
      </a:lt2>
      <a:accent1>
        <a:srgbClr val="C2CEE6"/>
      </a:accent1>
      <a:accent2>
        <a:srgbClr val="6785C1"/>
      </a:accent2>
      <a:accent3>
        <a:srgbClr val="E6B600"/>
      </a:accent3>
      <a:accent4>
        <a:srgbClr val="BC4328"/>
      </a:accent4>
      <a:accent5>
        <a:srgbClr val="83B254"/>
      </a:accent5>
      <a:accent6>
        <a:srgbClr val="AA3C80"/>
      </a:accent6>
      <a:hlink>
        <a:srgbClr val="0000FF"/>
      </a:hlink>
      <a:folHlink>
        <a:srgbClr val="800080"/>
      </a:folHlink>
    </a:clrScheme>
    <a:fontScheme name="源真ゴシック P">
      <a:majorFont>
        <a:latin typeface="Arial"/>
        <a:ea typeface="Arial"/>
        <a:cs typeface=""/>
      </a:majorFont>
      <a:minorFont>
        <a:latin typeface="Arial"/>
        <a:ea typeface="Aria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kumimoji="1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6C6CAC3C-59C1-40BD-8648-86233CDB4D40}" vid="{32A8F719-9E1D-4AB3-8B12-85C549BBE1AF}"/>
    </a:ext>
  </a:extLst>
</a:theme>
</file>

<file path=ppt/theme/theme9.xml><?xml version="1.0" encoding="utf-8"?>
<a:theme xmlns:a="http://schemas.openxmlformats.org/drawingml/2006/main" name="7_Branded Header - Human (BH-H)">
  <a:themeElements>
    <a:clrScheme name="NTT DATA 2019">
      <a:dk1>
        <a:srgbClr val="1C1C1C"/>
      </a:dk1>
      <a:lt1>
        <a:srgbClr val="FFFFFF"/>
      </a:lt1>
      <a:dk2>
        <a:srgbClr val="0F1C50"/>
      </a:dk2>
      <a:lt2>
        <a:srgbClr val="0080B1"/>
      </a:lt2>
      <a:accent1>
        <a:srgbClr val="C2CEE6"/>
      </a:accent1>
      <a:accent2>
        <a:srgbClr val="6785C1"/>
      </a:accent2>
      <a:accent3>
        <a:srgbClr val="E6B600"/>
      </a:accent3>
      <a:accent4>
        <a:srgbClr val="BC4328"/>
      </a:accent4>
      <a:accent5>
        <a:srgbClr val="83B254"/>
      </a:accent5>
      <a:accent6>
        <a:srgbClr val="AA3C80"/>
      </a:accent6>
      <a:hlink>
        <a:srgbClr val="0000FF"/>
      </a:hlink>
      <a:folHlink>
        <a:srgbClr val="800080"/>
      </a:folHlink>
    </a:clrScheme>
    <a:fontScheme name="源真ゴシック P">
      <a:majorFont>
        <a:latin typeface="Arial"/>
        <a:ea typeface="Arial"/>
        <a:cs typeface=""/>
      </a:majorFont>
      <a:minorFont>
        <a:latin typeface="Arial"/>
        <a:ea typeface="Aria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kumimoji="1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2022 CDTS Organization" id="{F85D74B9-C85D-4051-B3BF-7E74481E31BC}" vid="{FB01F0BE-E59C-4D96-AFF2-E8047BBFF5C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D33EEF541A28445AA1068B5DF433231" ma:contentTypeVersion="6" ma:contentTypeDescription="Create a new document." ma:contentTypeScope="" ma:versionID="a4d4d8014e3c7fde9f9f06e49bbf97a2">
  <xsd:schema xmlns:xsd="http://www.w3.org/2001/XMLSchema" xmlns:xs="http://www.w3.org/2001/XMLSchema" xmlns:p="http://schemas.microsoft.com/office/2006/metadata/properties" xmlns:ns2="5397151b-5b52-4f4d-82c0-2123ad958cf1" xmlns:ns3="e468e713-a51c-4683-9df5-678c6981273d" targetNamespace="http://schemas.microsoft.com/office/2006/metadata/properties" ma:root="true" ma:fieldsID="c7a40229707a314ab15dbb1aee5f5d3f" ns2:_="" ns3:_="">
    <xsd:import namespace="5397151b-5b52-4f4d-82c0-2123ad958cf1"/>
    <xsd:import namespace="e468e713-a51c-4683-9df5-678c6981273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397151b-5b52-4f4d-82c0-2123ad958cf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68e713-a51c-4683-9df5-678c6981273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1AABEBD-43E0-47F5-A1DE-6C480E18ECB5}">
  <ds:schemaRefs>
    <ds:schemaRef ds:uri="http://purl.org/dc/elements/1.1/"/>
    <ds:schemaRef ds:uri="http://purl.org/dc/dcmitype/"/>
    <ds:schemaRef ds:uri="5397151b-5b52-4f4d-82c0-2123ad958cf1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e468e713-a51c-4683-9df5-678c6981273d"/>
    <ds:schemaRef ds:uri="http://schemas.microsoft.com/office/2006/documentManagement/types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EE6063A9-49E8-43CA-91C9-6D931365780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147E81A-1157-45C6-8DAB-5EF8BE7EFE9E}">
  <ds:schemaRefs>
    <ds:schemaRef ds:uri="5397151b-5b52-4f4d-82c0-2123ad958cf1"/>
    <ds:schemaRef ds:uri="e468e713-a51c-4683-9df5-678c6981273d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009</TotalTime>
  <Words>1782</Words>
  <Application>Microsoft Office PowerPoint</Application>
  <PresentationFormat>Widescreen</PresentationFormat>
  <Paragraphs>228</Paragraphs>
  <Slides>24</Slides>
  <Notes>18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9" baseType="lpstr">
      <vt:lpstr>HGPGothicE</vt:lpstr>
      <vt:lpstr>MS PGothic</vt:lpstr>
      <vt:lpstr>Arial</vt:lpstr>
      <vt:lpstr>Calibri</vt:lpstr>
      <vt:lpstr>Consolas</vt:lpstr>
      <vt:lpstr>Title Slides</vt:lpstr>
      <vt:lpstr>Branded Header - Human (BH-H)</vt:lpstr>
      <vt:lpstr>1_Branded Header - Human (BH-H)</vt:lpstr>
      <vt:lpstr>2_Branded Header - Human (BH-H)</vt:lpstr>
      <vt:lpstr>3_Branded Header - Human (BH-H)</vt:lpstr>
      <vt:lpstr>4_Branded Header - Human (BH-H)</vt:lpstr>
      <vt:lpstr>5_Branded Header - Human (BH-H)</vt:lpstr>
      <vt:lpstr>6_Branded Header - Human (BH-H)</vt:lpstr>
      <vt:lpstr>7_Branded Header - Human (BH-H)</vt:lpstr>
      <vt:lpstr>think-cell Slide</vt:lpstr>
      <vt:lpstr>What is Infrastructure as Code? An Introduction &amp; Live Workshop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ntributing Rules – Steps 1 &amp; 2</vt:lpstr>
      <vt:lpstr>Contributing Rules – Step 3</vt:lpstr>
      <vt:lpstr>Contributing Rules – Step 3 (cont.)</vt:lpstr>
      <vt:lpstr>Contributing Rules – Step 4</vt:lpstr>
      <vt:lpstr>Contributing Rules – Step 4 (cont.)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gital 3.0</dc:title>
  <dc:creator>Evans, Gracie</dc:creator>
  <cp:lastModifiedBy>Ciupak, Mitchell</cp:lastModifiedBy>
  <cp:revision>20</cp:revision>
  <dcterms:created xsi:type="dcterms:W3CDTF">2022-04-20T18:14:12Z</dcterms:created>
  <dcterms:modified xsi:type="dcterms:W3CDTF">2022-07-27T05:24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D33EEF541A28445AA1068B5DF433231</vt:lpwstr>
  </property>
</Properties>
</file>